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media/image5.bin" ContentType="image/png"/>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4037" r:id="rId4"/>
  </p:sldMasterIdLst>
  <p:notesMasterIdLst>
    <p:notesMasterId r:id="rId28"/>
  </p:notesMasterIdLst>
  <p:sldIdLst>
    <p:sldId id="439" r:id="rId5"/>
    <p:sldId id="440" r:id="rId6"/>
    <p:sldId id="405" r:id="rId7"/>
    <p:sldId id="406" r:id="rId8"/>
    <p:sldId id="441" r:id="rId9"/>
    <p:sldId id="417" r:id="rId10"/>
    <p:sldId id="418" r:id="rId11"/>
    <p:sldId id="419" r:id="rId12"/>
    <p:sldId id="434" r:id="rId13"/>
    <p:sldId id="456" r:id="rId14"/>
    <p:sldId id="427" r:id="rId15"/>
    <p:sldId id="447" r:id="rId17"/>
    <p:sldId id="437" r:id="rId18"/>
    <p:sldId id="426" r:id="rId19"/>
    <p:sldId id="449" r:id="rId20"/>
    <p:sldId id="450" r:id="rId21"/>
    <p:sldId id="451" r:id="rId22"/>
    <p:sldId id="452" r:id="rId23"/>
    <p:sldId id="453" r:id="rId24"/>
    <p:sldId id="442" r:id="rId25"/>
    <p:sldId id="431" r:id="rId26"/>
    <p:sldId id="444"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39"/>
            <p14:sldId id="440"/>
            <p14:sldId id="405"/>
            <p14:sldId id="406"/>
          </p14:sldIdLst>
        </p14:section>
        <p14:section name="Content pages" id="{7E28E96D-50B7-3247-AD53-91BDC15BF350}">
          <p14:sldIdLst>
            <p14:sldId id="441"/>
            <p14:sldId id="417"/>
            <p14:sldId id="418"/>
            <p14:sldId id="419"/>
            <p14:sldId id="434"/>
            <p14:sldId id="456"/>
            <p14:sldId id="427"/>
            <p14:sldId id="446"/>
            <p14:sldId id="447"/>
            <p14:sldId id="437"/>
            <p14:sldId id="426"/>
            <p14:sldId id="449"/>
            <p14:sldId id="450"/>
            <p14:sldId id="451"/>
            <p14:sldId id="452"/>
            <p14:sldId id="453"/>
            <p14:sldId id="442"/>
            <p14:sldId id="431"/>
            <p14:sldId id="44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9" autoAdjust="0"/>
    <p:restoredTop sz="85012" autoAdjust="0"/>
  </p:normalViewPr>
  <p:slideViewPr>
    <p:cSldViewPr snapToGrid="0">
      <p:cViewPr varScale="1">
        <p:scale>
          <a:sx n="136" d="100"/>
          <a:sy n="136" d="100"/>
        </p:scale>
        <p:origin x="1192"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customXml" Target="../customXml/item3.xml" Id="rId3" /><Relationship Type="http://schemas.openxmlformats.org/officeDocument/2006/relationships/slide" Target="slides/slide17.xml" Id="rId21" /><Relationship Type="http://schemas.openxmlformats.org/officeDocument/2006/relationships/slide" Target="slides/slide3.xml" Id="rId7"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tableStyles" Target="tableStyles.xml" Id="rId33" /><Relationship Type="http://schemas.openxmlformats.org/officeDocument/2006/relationships/customXml" Target="../customXml/item2.xml" Id="rId2" /><Relationship Type="http://schemas.openxmlformats.org/officeDocument/2006/relationships/slide" Target="slides/slide16.xml" Id="rId20" /><Relationship Type="http://schemas.openxmlformats.org/officeDocument/2006/relationships/tags" Target="tags/tag1.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theme" Target="theme/theme1.xml" Id="rId32"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notesMaster" Target="notesMasters/notesMaster1.xml" Id="rId28"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viewProps" Target="viewProps.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presProps" Target="presProps.xml" Id="rId30" /><Relationship Type="http://schemas.openxmlformats.org/officeDocument/2006/relationships/slide" Target="slides/slide4.xml" Id="rId8"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04C40A-02AC-442E-926B-C1CCBD16D4ED}" type="doc">
      <dgm:prSet loTypeId="urn:microsoft.com/office/officeart/2005/8/layout/list1" loCatId="list" qsTypeId="urn:microsoft.com/office/officeart/2005/8/quickstyle/simple1" qsCatId="simple" csTypeId="urn:microsoft.com/office/officeart/2005/8/colors/accent1_2" csCatId="accent1" phldr="0"/>
      <dgm:spPr/>
      <dgm:t>
        <a:bodyPr/>
        <a:lstStyle/>
        <a:p>
          <a:endParaRPr lang="en-US"/>
        </a:p>
      </dgm:t>
    </dgm:pt>
    <dgm:pt modelId="{19828F84-1379-4D99-879D-9A8763704C2B}">
      <dgm:prSet phldrT="[Text]" phldr="1"/>
      <dgm:spPr/>
      <dgm:t>
        <a:bodyPr/>
        <a:lstStyle/>
        <a:p>
          <a:endParaRPr lang="en-US" dirty="0"/>
        </a:p>
      </dgm:t>
    </dgm:pt>
    <dgm:pt modelId="{DEA2F1F3-E98F-4947-8D7B-5F0584ECF4B9}" type="parTrans" cxnId="{8F7811E9-6030-45DB-812A-5FB5FA4FCDE4}">
      <dgm:prSet/>
      <dgm:spPr/>
      <dgm:t>
        <a:bodyPr/>
        <a:lstStyle/>
        <a:p>
          <a:endParaRPr lang="en-US"/>
        </a:p>
      </dgm:t>
    </dgm:pt>
    <dgm:pt modelId="{AB9A1C57-A7C1-42A8-9BDB-4363B83ECD16}" type="sibTrans" cxnId="{8F7811E9-6030-45DB-812A-5FB5FA4FCDE4}">
      <dgm:prSet/>
      <dgm:spPr/>
      <dgm:t>
        <a:bodyPr/>
        <a:lstStyle/>
        <a:p>
          <a:endParaRPr lang="en-US"/>
        </a:p>
      </dgm:t>
    </dgm:pt>
    <dgm:pt modelId="{C4D3B72E-EE9F-4126-A8E6-94E7D37BCFD1}">
      <dgm:prSet phldrT="[Text]" phldr="1"/>
      <dgm:spPr/>
      <dgm:t>
        <a:bodyPr/>
        <a:lstStyle/>
        <a:p>
          <a:endParaRPr lang="en-US"/>
        </a:p>
      </dgm:t>
    </dgm:pt>
    <dgm:pt modelId="{FD242D2B-8B84-4747-9267-39BFDB9EAC3B}" type="parTrans" cxnId="{FA27AAB7-6975-4D7A-AACE-660B1EED5D92}">
      <dgm:prSet/>
      <dgm:spPr/>
      <dgm:t>
        <a:bodyPr/>
        <a:lstStyle/>
        <a:p>
          <a:endParaRPr lang="en-US"/>
        </a:p>
      </dgm:t>
    </dgm:pt>
    <dgm:pt modelId="{4E1127D2-A93D-4F85-B576-8564AA79386E}" type="sibTrans" cxnId="{FA27AAB7-6975-4D7A-AACE-660B1EED5D92}">
      <dgm:prSet/>
      <dgm:spPr/>
      <dgm:t>
        <a:bodyPr/>
        <a:lstStyle/>
        <a:p>
          <a:endParaRPr lang="en-US"/>
        </a:p>
      </dgm:t>
    </dgm:pt>
    <dgm:pt modelId="{0B07996B-FF50-47E4-9BEF-EAC04A7B712A}">
      <dgm:prSet phldrT="[Text]" phldr="1"/>
      <dgm:spPr/>
      <dgm:t>
        <a:bodyPr/>
        <a:lstStyle/>
        <a:p>
          <a:endParaRPr lang="en-US"/>
        </a:p>
      </dgm:t>
    </dgm:pt>
    <dgm:pt modelId="{BBB2C3AB-3C9B-40DE-A541-97B7164E2F3B}" type="parTrans" cxnId="{1B4339AE-510B-46E6-95D6-8BD59BA17492}">
      <dgm:prSet/>
      <dgm:spPr/>
      <dgm:t>
        <a:bodyPr/>
        <a:lstStyle/>
        <a:p>
          <a:endParaRPr lang="en-US"/>
        </a:p>
      </dgm:t>
    </dgm:pt>
    <dgm:pt modelId="{3595BE90-834D-40ED-8BBD-CF8EAE8A4F7D}" type="sibTrans" cxnId="{1B4339AE-510B-46E6-95D6-8BD59BA17492}">
      <dgm:prSet/>
      <dgm:spPr/>
      <dgm:t>
        <a:bodyPr/>
        <a:lstStyle/>
        <a:p>
          <a:endParaRPr lang="en-US"/>
        </a:p>
      </dgm:t>
    </dgm:pt>
    <dgm:pt modelId="{2A02C22B-3862-46B4-AC88-56779F1C256D}" type="pres">
      <dgm:prSet presAssocID="{1504C40A-02AC-442E-926B-C1CCBD16D4ED}" presName="linear" presStyleCnt="0">
        <dgm:presLayoutVars>
          <dgm:dir/>
          <dgm:animLvl val="lvl"/>
          <dgm:resizeHandles val="exact"/>
        </dgm:presLayoutVars>
      </dgm:prSet>
      <dgm:spPr/>
    </dgm:pt>
    <dgm:pt modelId="{ABF6A67D-3565-4CFE-A3A9-D453C9BF82DE}" type="pres">
      <dgm:prSet presAssocID="{19828F84-1379-4D99-879D-9A8763704C2B}" presName="parentLin" presStyleCnt="0"/>
      <dgm:spPr/>
    </dgm:pt>
    <dgm:pt modelId="{C1D1C60F-84E9-4721-B9AC-F927045248AA}" type="pres">
      <dgm:prSet presAssocID="{19828F84-1379-4D99-879D-9A8763704C2B}" presName="parentLeftMargin" presStyleLbl="node1" presStyleIdx="0" presStyleCnt="3"/>
      <dgm:spPr/>
    </dgm:pt>
    <dgm:pt modelId="{9ABF26A1-E35D-40CE-9C6A-6D9293AC9DE6}" type="pres">
      <dgm:prSet presAssocID="{19828F84-1379-4D99-879D-9A8763704C2B}" presName="parentText" presStyleLbl="node1" presStyleIdx="0" presStyleCnt="3">
        <dgm:presLayoutVars>
          <dgm:chMax val="0"/>
          <dgm:bulletEnabled val="1"/>
        </dgm:presLayoutVars>
      </dgm:prSet>
      <dgm:spPr/>
    </dgm:pt>
    <dgm:pt modelId="{56414D47-7877-4766-B0CD-3EDA254BAC46}" type="pres">
      <dgm:prSet presAssocID="{19828F84-1379-4D99-879D-9A8763704C2B}" presName="negativeSpace" presStyleCnt="0"/>
      <dgm:spPr/>
    </dgm:pt>
    <dgm:pt modelId="{5D58313F-9DE1-4E96-A788-2DBC72FED5EA}" type="pres">
      <dgm:prSet presAssocID="{19828F84-1379-4D99-879D-9A8763704C2B}" presName="childText" presStyleLbl="conFgAcc1" presStyleIdx="0" presStyleCnt="3">
        <dgm:presLayoutVars>
          <dgm:bulletEnabled val="1"/>
        </dgm:presLayoutVars>
      </dgm:prSet>
      <dgm:spPr/>
    </dgm:pt>
    <dgm:pt modelId="{88A9F856-8F21-4E7F-8D0F-DB5C2200F04D}" type="pres">
      <dgm:prSet presAssocID="{AB9A1C57-A7C1-42A8-9BDB-4363B83ECD16}" presName="spaceBetweenRectangles" presStyleCnt="0"/>
      <dgm:spPr/>
    </dgm:pt>
    <dgm:pt modelId="{0969E7A1-9DCA-45F5-81F1-1FA7D190F4CC}" type="pres">
      <dgm:prSet presAssocID="{C4D3B72E-EE9F-4126-A8E6-94E7D37BCFD1}" presName="parentLin" presStyleCnt="0"/>
      <dgm:spPr/>
    </dgm:pt>
    <dgm:pt modelId="{952E34DB-6AE9-4A96-8DD2-9DB32705454C}" type="pres">
      <dgm:prSet presAssocID="{C4D3B72E-EE9F-4126-A8E6-94E7D37BCFD1}" presName="parentLeftMargin" presStyleLbl="node1" presStyleIdx="0" presStyleCnt="3"/>
      <dgm:spPr/>
    </dgm:pt>
    <dgm:pt modelId="{9F7B2DF3-2C7C-490E-B6A4-FC8E9C8E88C9}" type="pres">
      <dgm:prSet presAssocID="{C4D3B72E-EE9F-4126-A8E6-94E7D37BCFD1}" presName="parentText" presStyleLbl="node1" presStyleIdx="1" presStyleCnt="3">
        <dgm:presLayoutVars>
          <dgm:chMax val="0"/>
          <dgm:bulletEnabled val="1"/>
        </dgm:presLayoutVars>
      </dgm:prSet>
      <dgm:spPr/>
    </dgm:pt>
    <dgm:pt modelId="{2930D6F8-6650-4483-A11E-E12C2299D598}" type="pres">
      <dgm:prSet presAssocID="{C4D3B72E-EE9F-4126-A8E6-94E7D37BCFD1}" presName="negativeSpace" presStyleCnt="0"/>
      <dgm:spPr/>
    </dgm:pt>
    <dgm:pt modelId="{1DA964AC-4A55-4A27-8D2A-96D58EBA493A}" type="pres">
      <dgm:prSet presAssocID="{C4D3B72E-EE9F-4126-A8E6-94E7D37BCFD1}" presName="childText" presStyleLbl="conFgAcc1" presStyleIdx="1" presStyleCnt="3">
        <dgm:presLayoutVars>
          <dgm:bulletEnabled val="1"/>
        </dgm:presLayoutVars>
      </dgm:prSet>
      <dgm:spPr/>
    </dgm:pt>
    <dgm:pt modelId="{77CFBFAF-51CB-4471-B86A-E11BD5767237}" type="pres">
      <dgm:prSet presAssocID="{4E1127D2-A93D-4F85-B576-8564AA79386E}" presName="spaceBetweenRectangles" presStyleCnt="0"/>
      <dgm:spPr/>
    </dgm:pt>
    <dgm:pt modelId="{AE143D15-17DB-423F-BF51-E9642466BC46}" type="pres">
      <dgm:prSet presAssocID="{0B07996B-FF50-47E4-9BEF-EAC04A7B712A}" presName="parentLin" presStyleCnt="0"/>
      <dgm:spPr/>
    </dgm:pt>
    <dgm:pt modelId="{552DD646-E6AC-4E8D-B29D-1613B56CCC57}" type="pres">
      <dgm:prSet presAssocID="{0B07996B-FF50-47E4-9BEF-EAC04A7B712A}" presName="parentLeftMargin" presStyleLbl="node1" presStyleIdx="1" presStyleCnt="3"/>
      <dgm:spPr/>
    </dgm:pt>
    <dgm:pt modelId="{CC44156B-E35B-4AA6-BAAD-A093BF798483}" type="pres">
      <dgm:prSet presAssocID="{0B07996B-FF50-47E4-9BEF-EAC04A7B712A}" presName="parentText" presStyleLbl="node1" presStyleIdx="2" presStyleCnt="3">
        <dgm:presLayoutVars>
          <dgm:chMax val="0"/>
          <dgm:bulletEnabled val="1"/>
        </dgm:presLayoutVars>
      </dgm:prSet>
      <dgm:spPr/>
    </dgm:pt>
    <dgm:pt modelId="{7BB38531-63C3-4F8A-A4FE-B55493C61CD3}" type="pres">
      <dgm:prSet presAssocID="{0B07996B-FF50-47E4-9BEF-EAC04A7B712A}" presName="negativeSpace" presStyleCnt="0"/>
      <dgm:spPr/>
    </dgm:pt>
    <dgm:pt modelId="{28C15B55-83BE-4F22-AB61-34F84B57745B}" type="pres">
      <dgm:prSet presAssocID="{0B07996B-FF50-47E4-9BEF-EAC04A7B712A}" presName="childText" presStyleLbl="conFgAcc1" presStyleIdx="2" presStyleCnt="3">
        <dgm:presLayoutVars>
          <dgm:bulletEnabled val="1"/>
        </dgm:presLayoutVars>
      </dgm:prSet>
      <dgm:spPr/>
    </dgm:pt>
  </dgm:ptLst>
  <dgm:cxnLst>
    <dgm:cxn modelId="{2D28FD10-DF01-4997-AD2B-B4F658E5840A}" type="presOf" srcId="{C4D3B72E-EE9F-4126-A8E6-94E7D37BCFD1}" destId="{952E34DB-6AE9-4A96-8DD2-9DB32705454C}" srcOrd="0" destOrd="0" presId="urn:microsoft.com/office/officeart/2005/8/layout/list1"/>
    <dgm:cxn modelId="{E7ADF721-BD1C-4DEB-9DE2-635EA2E3CF2A}" type="presOf" srcId="{C4D3B72E-EE9F-4126-A8E6-94E7D37BCFD1}" destId="{9F7B2DF3-2C7C-490E-B6A4-FC8E9C8E88C9}" srcOrd="1" destOrd="0" presId="urn:microsoft.com/office/officeart/2005/8/layout/list1"/>
    <dgm:cxn modelId="{594F9E4D-4806-4150-BCF0-58E6DC387F6C}" type="presOf" srcId="{19828F84-1379-4D99-879D-9A8763704C2B}" destId="{9ABF26A1-E35D-40CE-9C6A-6D9293AC9DE6}" srcOrd="1" destOrd="0" presId="urn:microsoft.com/office/officeart/2005/8/layout/list1"/>
    <dgm:cxn modelId="{FF1E207A-AEC9-4E3F-AA85-BF2F1B8B5808}" type="presOf" srcId="{1504C40A-02AC-442E-926B-C1CCBD16D4ED}" destId="{2A02C22B-3862-46B4-AC88-56779F1C256D}" srcOrd="0" destOrd="0" presId="urn:microsoft.com/office/officeart/2005/8/layout/list1"/>
    <dgm:cxn modelId="{DFB5825A-EB26-4CBF-AE62-B14B80BD9619}" type="presOf" srcId="{0B07996B-FF50-47E4-9BEF-EAC04A7B712A}" destId="{CC44156B-E35B-4AA6-BAAD-A093BF798483}" srcOrd="1" destOrd="0" presId="urn:microsoft.com/office/officeart/2005/8/layout/list1"/>
    <dgm:cxn modelId="{4A09D6A5-AD7B-4183-A95D-86C3248222DC}" type="presOf" srcId="{0B07996B-FF50-47E4-9BEF-EAC04A7B712A}" destId="{552DD646-E6AC-4E8D-B29D-1613B56CCC57}" srcOrd="0" destOrd="0" presId="urn:microsoft.com/office/officeart/2005/8/layout/list1"/>
    <dgm:cxn modelId="{1B4339AE-510B-46E6-95D6-8BD59BA17492}" srcId="{1504C40A-02AC-442E-926B-C1CCBD16D4ED}" destId="{0B07996B-FF50-47E4-9BEF-EAC04A7B712A}" srcOrd="2" destOrd="0" parTransId="{BBB2C3AB-3C9B-40DE-A541-97B7164E2F3B}" sibTransId="{3595BE90-834D-40ED-8BBD-CF8EAE8A4F7D}"/>
    <dgm:cxn modelId="{FA27AAB7-6975-4D7A-AACE-660B1EED5D92}" srcId="{1504C40A-02AC-442E-926B-C1CCBD16D4ED}" destId="{C4D3B72E-EE9F-4126-A8E6-94E7D37BCFD1}" srcOrd="1" destOrd="0" parTransId="{FD242D2B-8B84-4747-9267-39BFDB9EAC3B}" sibTransId="{4E1127D2-A93D-4F85-B576-8564AA79386E}"/>
    <dgm:cxn modelId="{DD0BB6CF-ED6F-4F0B-BFBE-67CBFC29CC24}" type="presOf" srcId="{19828F84-1379-4D99-879D-9A8763704C2B}" destId="{C1D1C60F-84E9-4721-B9AC-F927045248AA}" srcOrd="0" destOrd="0" presId="urn:microsoft.com/office/officeart/2005/8/layout/list1"/>
    <dgm:cxn modelId="{8F7811E9-6030-45DB-812A-5FB5FA4FCDE4}" srcId="{1504C40A-02AC-442E-926B-C1CCBD16D4ED}" destId="{19828F84-1379-4D99-879D-9A8763704C2B}" srcOrd="0" destOrd="0" parTransId="{DEA2F1F3-E98F-4947-8D7B-5F0584ECF4B9}" sibTransId="{AB9A1C57-A7C1-42A8-9BDB-4363B83ECD16}"/>
    <dgm:cxn modelId="{E28DAA17-B2B4-40E7-B504-43157FE85346}" type="presParOf" srcId="{2A02C22B-3862-46B4-AC88-56779F1C256D}" destId="{ABF6A67D-3565-4CFE-A3A9-D453C9BF82DE}" srcOrd="0" destOrd="0" presId="urn:microsoft.com/office/officeart/2005/8/layout/list1"/>
    <dgm:cxn modelId="{82EF835E-A189-427A-997A-65E174C57A16}" type="presParOf" srcId="{ABF6A67D-3565-4CFE-A3A9-D453C9BF82DE}" destId="{C1D1C60F-84E9-4721-B9AC-F927045248AA}" srcOrd="0" destOrd="0" presId="urn:microsoft.com/office/officeart/2005/8/layout/list1"/>
    <dgm:cxn modelId="{630A3A5A-ABF8-4CA2-9213-7D521BA2260C}" type="presParOf" srcId="{ABF6A67D-3565-4CFE-A3A9-D453C9BF82DE}" destId="{9ABF26A1-E35D-40CE-9C6A-6D9293AC9DE6}" srcOrd="1" destOrd="0" presId="urn:microsoft.com/office/officeart/2005/8/layout/list1"/>
    <dgm:cxn modelId="{80596FB0-CB0A-46EB-89BB-BB4FBAFB353C}" type="presParOf" srcId="{2A02C22B-3862-46B4-AC88-56779F1C256D}" destId="{56414D47-7877-4766-B0CD-3EDA254BAC46}" srcOrd="1" destOrd="0" presId="urn:microsoft.com/office/officeart/2005/8/layout/list1"/>
    <dgm:cxn modelId="{7ADD061E-66BC-4C87-AAAA-A14C6BC4E3CA}" type="presParOf" srcId="{2A02C22B-3862-46B4-AC88-56779F1C256D}" destId="{5D58313F-9DE1-4E96-A788-2DBC72FED5EA}" srcOrd="2" destOrd="0" presId="urn:microsoft.com/office/officeart/2005/8/layout/list1"/>
    <dgm:cxn modelId="{E5D23B60-8A5D-41A4-ADA4-F27C5D38D72C}" type="presParOf" srcId="{2A02C22B-3862-46B4-AC88-56779F1C256D}" destId="{88A9F856-8F21-4E7F-8D0F-DB5C2200F04D}" srcOrd="3" destOrd="0" presId="urn:microsoft.com/office/officeart/2005/8/layout/list1"/>
    <dgm:cxn modelId="{6427AC30-3E4B-4DD2-BBF0-DDA5C3C9A16B}" type="presParOf" srcId="{2A02C22B-3862-46B4-AC88-56779F1C256D}" destId="{0969E7A1-9DCA-45F5-81F1-1FA7D190F4CC}" srcOrd="4" destOrd="0" presId="urn:microsoft.com/office/officeart/2005/8/layout/list1"/>
    <dgm:cxn modelId="{ED7D4120-A9B3-466E-A962-AFDD07558BB1}" type="presParOf" srcId="{0969E7A1-9DCA-45F5-81F1-1FA7D190F4CC}" destId="{952E34DB-6AE9-4A96-8DD2-9DB32705454C}" srcOrd="0" destOrd="0" presId="urn:microsoft.com/office/officeart/2005/8/layout/list1"/>
    <dgm:cxn modelId="{DDD59B5B-30B3-4BA8-AFDA-A64B5B06F913}" type="presParOf" srcId="{0969E7A1-9DCA-45F5-81F1-1FA7D190F4CC}" destId="{9F7B2DF3-2C7C-490E-B6A4-FC8E9C8E88C9}" srcOrd="1" destOrd="0" presId="urn:microsoft.com/office/officeart/2005/8/layout/list1"/>
    <dgm:cxn modelId="{E70504B7-106D-42AC-A4EA-732BEC35A739}" type="presParOf" srcId="{2A02C22B-3862-46B4-AC88-56779F1C256D}" destId="{2930D6F8-6650-4483-A11E-E12C2299D598}" srcOrd="5" destOrd="0" presId="urn:microsoft.com/office/officeart/2005/8/layout/list1"/>
    <dgm:cxn modelId="{183C1249-534B-460B-8EDC-B6EAFB783F74}" type="presParOf" srcId="{2A02C22B-3862-46B4-AC88-56779F1C256D}" destId="{1DA964AC-4A55-4A27-8D2A-96D58EBA493A}" srcOrd="6" destOrd="0" presId="urn:microsoft.com/office/officeart/2005/8/layout/list1"/>
    <dgm:cxn modelId="{AE8346F3-EDD4-40B8-9596-6D5C815F85EF}" type="presParOf" srcId="{2A02C22B-3862-46B4-AC88-56779F1C256D}" destId="{77CFBFAF-51CB-4471-B86A-E11BD5767237}" srcOrd="7" destOrd="0" presId="urn:microsoft.com/office/officeart/2005/8/layout/list1"/>
    <dgm:cxn modelId="{C2300D5F-4BD3-4360-BBFE-CC2590CD8B52}" type="presParOf" srcId="{2A02C22B-3862-46B4-AC88-56779F1C256D}" destId="{AE143D15-17DB-423F-BF51-E9642466BC46}" srcOrd="8" destOrd="0" presId="urn:microsoft.com/office/officeart/2005/8/layout/list1"/>
    <dgm:cxn modelId="{136564E5-5F90-4D56-82DD-01B317B5D619}" type="presParOf" srcId="{AE143D15-17DB-423F-BF51-E9642466BC46}" destId="{552DD646-E6AC-4E8D-B29D-1613B56CCC57}" srcOrd="0" destOrd="0" presId="urn:microsoft.com/office/officeart/2005/8/layout/list1"/>
    <dgm:cxn modelId="{B6D2C1AB-3013-45E7-A567-F5DCDC9925FA}" type="presParOf" srcId="{AE143D15-17DB-423F-BF51-E9642466BC46}" destId="{CC44156B-E35B-4AA6-BAAD-A093BF798483}" srcOrd="1" destOrd="0" presId="urn:microsoft.com/office/officeart/2005/8/layout/list1"/>
    <dgm:cxn modelId="{89F7A686-4A65-41E2-A8CF-EF184AACE16C}" type="presParOf" srcId="{2A02C22B-3862-46B4-AC88-56779F1C256D}" destId="{7BB38531-63C3-4F8A-A4FE-B55493C61CD3}" srcOrd="9" destOrd="0" presId="urn:microsoft.com/office/officeart/2005/8/layout/list1"/>
    <dgm:cxn modelId="{68F54520-D1D4-4005-858E-562B85AF12F0}" type="presParOf" srcId="{2A02C22B-3862-46B4-AC88-56779F1C256D}" destId="{28C15B55-83BE-4F22-AB61-34F84B57745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DCD549-2C89-4DBF-9EC7-74974A2AE8E7}"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F2077704-01FB-4823-B49D-7FE1A20277A9}">
      <dgm:prSet/>
      <dgm:spPr/>
      <dgm:t>
        <a:bodyPr/>
        <a:lstStyle/>
        <a:p>
          <a:pPr algn="ctr"/>
          <a:r>
            <a:rPr lang="en-US" b="0" i="0" dirty="0"/>
            <a:t>In a distributed organization, Each admin can set preferences that control which messages are displayed in Message center. </a:t>
          </a:r>
          <a:endParaRPr lang="en-US" dirty="0"/>
        </a:p>
      </dgm:t>
    </dgm:pt>
    <dgm:pt modelId="{92B3A730-C66A-4AFD-92A2-45C6D37A46EA}" type="parTrans" cxnId="{1E924160-1453-42C9-8F4B-37F3044D2506}">
      <dgm:prSet/>
      <dgm:spPr/>
      <dgm:t>
        <a:bodyPr/>
        <a:lstStyle/>
        <a:p>
          <a:endParaRPr lang="en-US"/>
        </a:p>
      </dgm:t>
    </dgm:pt>
    <dgm:pt modelId="{2520AD71-A760-4984-BA1F-6CA189BB605C}" type="sibTrans" cxnId="{1E924160-1453-42C9-8F4B-37F3044D2506}">
      <dgm:prSet/>
      <dgm:spPr/>
      <dgm:t>
        <a:bodyPr/>
        <a:lstStyle/>
        <a:p>
          <a:endParaRPr lang="en-US"/>
        </a:p>
      </dgm:t>
    </dgm:pt>
    <dgm:pt modelId="{6FBEFE35-167D-448B-8972-F46A089BF034}">
      <dgm:prSet/>
      <dgm:spPr/>
      <dgm:t>
        <a:bodyPr/>
        <a:lstStyle/>
        <a:p>
          <a:pPr algn="ctr"/>
          <a:r>
            <a:rPr lang="en-US" b="0" i="0" dirty="0"/>
            <a:t>Opt-in to receive a weekly digest of messages in email.</a:t>
          </a:r>
          <a:endParaRPr lang="en-US" dirty="0"/>
        </a:p>
      </dgm:t>
    </dgm:pt>
    <dgm:pt modelId="{978D7FF4-A221-4D26-8C83-8664DAEDC188}" type="parTrans" cxnId="{4157DBBE-16E3-4B46-A9E8-E666958DC8B6}">
      <dgm:prSet/>
      <dgm:spPr/>
      <dgm:t>
        <a:bodyPr/>
        <a:lstStyle/>
        <a:p>
          <a:endParaRPr lang="en-US"/>
        </a:p>
      </dgm:t>
    </dgm:pt>
    <dgm:pt modelId="{D8B2967A-9EF0-41F4-8399-A30A9E736DB3}" type="sibTrans" cxnId="{4157DBBE-16E3-4B46-A9E8-E666958DC8B6}">
      <dgm:prSet/>
      <dgm:spPr/>
      <dgm:t>
        <a:bodyPr/>
        <a:lstStyle/>
        <a:p>
          <a:endParaRPr lang="en-US"/>
        </a:p>
      </dgm:t>
    </dgm:pt>
    <dgm:pt modelId="{9C26B9CE-0BA7-494B-99B1-28C17B58E13E}" type="pres">
      <dgm:prSet presAssocID="{67DCD549-2C89-4DBF-9EC7-74974A2AE8E7}" presName="diagram" presStyleCnt="0">
        <dgm:presLayoutVars>
          <dgm:dir/>
          <dgm:resizeHandles val="exact"/>
        </dgm:presLayoutVars>
      </dgm:prSet>
      <dgm:spPr/>
    </dgm:pt>
    <dgm:pt modelId="{C5B02785-4EB7-4673-8792-92DCDB333348}" type="pres">
      <dgm:prSet presAssocID="{F2077704-01FB-4823-B49D-7FE1A20277A9}" presName="node" presStyleLbl="node1" presStyleIdx="0" presStyleCnt="2">
        <dgm:presLayoutVars>
          <dgm:bulletEnabled val="1"/>
        </dgm:presLayoutVars>
      </dgm:prSet>
      <dgm:spPr/>
    </dgm:pt>
    <dgm:pt modelId="{92B1C817-5A97-4F15-9BCD-2C7DB346E73D}" type="pres">
      <dgm:prSet presAssocID="{2520AD71-A760-4984-BA1F-6CA189BB605C}" presName="sibTrans" presStyleCnt="0"/>
      <dgm:spPr/>
    </dgm:pt>
    <dgm:pt modelId="{0276F3AC-9907-49F4-97FE-D49F91BB57C3}" type="pres">
      <dgm:prSet presAssocID="{6FBEFE35-167D-448B-8972-F46A089BF034}" presName="node" presStyleLbl="node1" presStyleIdx="1" presStyleCnt="2">
        <dgm:presLayoutVars>
          <dgm:bulletEnabled val="1"/>
        </dgm:presLayoutVars>
      </dgm:prSet>
      <dgm:spPr/>
    </dgm:pt>
  </dgm:ptLst>
  <dgm:cxnLst>
    <dgm:cxn modelId="{1E924160-1453-42C9-8F4B-37F3044D2506}" srcId="{67DCD549-2C89-4DBF-9EC7-74974A2AE8E7}" destId="{F2077704-01FB-4823-B49D-7FE1A20277A9}" srcOrd="0" destOrd="0" parTransId="{92B3A730-C66A-4AFD-92A2-45C6D37A46EA}" sibTransId="{2520AD71-A760-4984-BA1F-6CA189BB605C}"/>
    <dgm:cxn modelId="{896D966F-7F37-4070-BD4B-B9384EACC154}" type="presOf" srcId="{6FBEFE35-167D-448B-8972-F46A089BF034}" destId="{0276F3AC-9907-49F4-97FE-D49F91BB57C3}" srcOrd="0" destOrd="0" presId="urn:microsoft.com/office/officeart/2005/8/layout/default"/>
    <dgm:cxn modelId="{E70F07A9-244A-4967-88B0-DDAD6EB3084F}" type="presOf" srcId="{F2077704-01FB-4823-B49D-7FE1A20277A9}" destId="{C5B02785-4EB7-4673-8792-92DCDB333348}" srcOrd="0" destOrd="0" presId="urn:microsoft.com/office/officeart/2005/8/layout/default"/>
    <dgm:cxn modelId="{302D12A9-0BAC-4080-8B7E-AECE9AC1CB53}" type="presOf" srcId="{67DCD549-2C89-4DBF-9EC7-74974A2AE8E7}" destId="{9C26B9CE-0BA7-494B-99B1-28C17B58E13E}" srcOrd="0" destOrd="0" presId="urn:microsoft.com/office/officeart/2005/8/layout/default"/>
    <dgm:cxn modelId="{4157DBBE-16E3-4B46-A9E8-E666958DC8B6}" srcId="{67DCD549-2C89-4DBF-9EC7-74974A2AE8E7}" destId="{6FBEFE35-167D-448B-8972-F46A089BF034}" srcOrd="1" destOrd="0" parTransId="{978D7FF4-A221-4D26-8C83-8664DAEDC188}" sibTransId="{D8B2967A-9EF0-41F4-8399-A30A9E736DB3}"/>
    <dgm:cxn modelId="{DA3C5F7B-8927-4362-852E-E1B544DF934C}" type="presParOf" srcId="{9C26B9CE-0BA7-494B-99B1-28C17B58E13E}" destId="{C5B02785-4EB7-4673-8792-92DCDB333348}" srcOrd="0" destOrd="0" presId="urn:microsoft.com/office/officeart/2005/8/layout/default"/>
    <dgm:cxn modelId="{E56E621E-D56B-4A50-8B14-5DBE7BA18FFF}" type="presParOf" srcId="{9C26B9CE-0BA7-494B-99B1-28C17B58E13E}" destId="{92B1C817-5A97-4F15-9BCD-2C7DB346E73D}" srcOrd="1" destOrd="0" presId="urn:microsoft.com/office/officeart/2005/8/layout/default"/>
    <dgm:cxn modelId="{CFB7B1BE-E187-4BC1-8CEF-7D115ACF741B}" type="presParOf" srcId="{9C26B9CE-0BA7-494B-99B1-28C17B58E13E}" destId="{0276F3AC-9907-49F4-97FE-D49F91BB57C3}"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25CBF45-8B32-4B43-A1E3-0E08028C213D}"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57E81416-9F88-41EA-928C-4F37D16D60D4}">
      <dgm:prSet custT="1"/>
      <dgm:spPr/>
      <dgm:t>
        <a:bodyPr/>
        <a:lstStyle/>
        <a:p>
          <a:r>
            <a:rPr lang="en-US" sz="1800" dirty="0"/>
            <a:t>What are the service families provided by Microsoft 365?</a:t>
          </a:r>
          <a:endParaRPr lang="nb-NO" sz="1800" dirty="0"/>
        </a:p>
      </dgm:t>
    </dgm:pt>
    <dgm:pt modelId="{ED5A189B-AFF7-4FD9-B025-C9A15C3A3B90}" type="parTrans" cxnId="{DB68E259-8397-44B6-A746-28BFC4D94305}">
      <dgm:prSet/>
      <dgm:spPr/>
      <dgm:t>
        <a:bodyPr/>
        <a:lstStyle/>
        <a:p>
          <a:endParaRPr lang="en-US" sz="1800"/>
        </a:p>
      </dgm:t>
    </dgm:pt>
    <dgm:pt modelId="{A0C3A25B-3BF3-403D-8B61-19A0CEE3EEF2}" type="sibTrans" cxnId="{DB68E259-8397-44B6-A746-28BFC4D94305}">
      <dgm:prSet/>
      <dgm:spPr/>
      <dgm:t>
        <a:bodyPr/>
        <a:lstStyle/>
        <a:p>
          <a:endParaRPr lang="en-US" sz="1800"/>
        </a:p>
      </dgm:t>
    </dgm:pt>
    <dgm:pt modelId="{66EBE955-EEAB-4A90-90E3-8F0ACF65565D}">
      <dgm:prSet custT="1"/>
      <dgm:spPr/>
      <dgm:t>
        <a:bodyPr/>
        <a:lstStyle/>
        <a:p>
          <a:r>
            <a:rPr lang="en-US" sz="1800" dirty="0"/>
            <a:t>In which regions are the Microsoft 365 datacenters located?</a:t>
          </a:r>
          <a:endParaRPr lang="nb-NO" sz="1800" dirty="0"/>
        </a:p>
      </dgm:t>
    </dgm:pt>
    <dgm:pt modelId="{DDCBAA36-E5BC-44F4-9D41-D09292F820A7}" type="parTrans" cxnId="{352D32B6-23DB-4FF2-9C78-FD207F9109CD}">
      <dgm:prSet/>
      <dgm:spPr/>
      <dgm:t>
        <a:bodyPr/>
        <a:lstStyle/>
        <a:p>
          <a:endParaRPr lang="en-US" sz="1800"/>
        </a:p>
      </dgm:t>
    </dgm:pt>
    <dgm:pt modelId="{3A33112E-E044-4216-BD0B-208DD5E020BB}" type="sibTrans" cxnId="{352D32B6-23DB-4FF2-9C78-FD207F9109CD}">
      <dgm:prSet/>
      <dgm:spPr/>
      <dgm:t>
        <a:bodyPr/>
        <a:lstStyle/>
        <a:p>
          <a:endParaRPr lang="en-US" sz="1800"/>
        </a:p>
      </dgm:t>
    </dgm:pt>
    <dgm:pt modelId="{7B73EFC7-A6D9-45B8-95AE-5906F0E11FBB}">
      <dgm:prSet custT="1"/>
      <dgm:spPr/>
      <dgm:t>
        <a:bodyPr/>
        <a:lstStyle/>
        <a:p>
          <a:r>
            <a:rPr lang="en-US" sz="1800" dirty="0"/>
            <a:t>Business, Enterprise, Education, and Government </a:t>
          </a:r>
          <a:endParaRPr lang="nb-NO" sz="1800" dirty="0"/>
        </a:p>
      </dgm:t>
    </dgm:pt>
    <dgm:pt modelId="{A34AD5B9-492F-4B3B-B83E-012384827E27}" type="parTrans" cxnId="{CFBBB29D-60EB-4D99-B530-E96FA39C06B1}">
      <dgm:prSet/>
      <dgm:spPr/>
      <dgm:t>
        <a:bodyPr/>
        <a:lstStyle/>
        <a:p>
          <a:endParaRPr lang="en-US" sz="1800"/>
        </a:p>
      </dgm:t>
    </dgm:pt>
    <dgm:pt modelId="{B61B555B-CAC4-41A9-AD20-9330C6FFF90E}" type="sibTrans" cxnId="{CFBBB29D-60EB-4D99-B530-E96FA39C06B1}">
      <dgm:prSet/>
      <dgm:spPr/>
      <dgm:t>
        <a:bodyPr/>
        <a:lstStyle/>
        <a:p>
          <a:endParaRPr lang="en-US" sz="1800"/>
        </a:p>
      </dgm:t>
    </dgm:pt>
    <dgm:pt modelId="{272B5F75-0359-45B9-8790-404D1E07248D}">
      <dgm:prSet custT="1"/>
      <dgm:spPr/>
      <dgm:t>
        <a:bodyPr/>
        <a:lstStyle/>
        <a:p>
          <a:r>
            <a:rPr lang="en-US" sz="1800"/>
            <a:t>Currently locations are in the United States, European Union, Asia Pacific (APAC), Australia, Canada, France, India, Japan, Korea, Germany, and United Kingdom.</a:t>
          </a:r>
          <a:endParaRPr lang="nb-NO" sz="1800" dirty="0"/>
        </a:p>
      </dgm:t>
    </dgm:pt>
    <dgm:pt modelId="{465CFA39-B049-4110-B9E8-DDEC75882A0F}" type="parTrans" cxnId="{76CC86BA-6A06-4C40-B3D8-14C3331242F8}">
      <dgm:prSet/>
      <dgm:spPr/>
      <dgm:t>
        <a:bodyPr/>
        <a:lstStyle/>
        <a:p>
          <a:endParaRPr lang="en-US" sz="1800"/>
        </a:p>
      </dgm:t>
    </dgm:pt>
    <dgm:pt modelId="{E0CD4FE7-630C-48B5-9DFA-6E34802EF6DD}" type="sibTrans" cxnId="{76CC86BA-6A06-4C40-B3D8-14C3331242F8}">
      <dgm:prSet/>
      <dgm:spPr/>
      <dgm:t>
        <a:bodyPr/>
        <a:lstStyle/>
        <a:p>
          <a:endParaRPr lang="en-US" sz="1800"/>
        </a:p>
      </dgm:t>
    </dgm:pt>
    <dgm:pt modelId="{14F7FADC-A968-4EEF-80A8-02894BE38511}">
      <dgm:prSet custT="1"/>
      <dgm:spPr/>
      <dgm:t>
        <a:bodyPr/>
        <a:lstStyle/>
        <a:p>
          <a:r>
            <a:rPr lang="en-US" sz="1800" dirty="0"/>
            <a:t>Who can view posts in Message center?</a:t>
          </a:r>
          <a:endParaRPr lang="nb-NO" sz="1800" dirty="0"/>
        </a:p>
      </dgm:t>
    </dgm:pt>
    <dgm:pt modelId="{02A54A93-0C62-4F64-98DF-10CCB53D4536}" type="parTrans" cxnId="{7F1C419B-B52F-4793-9883-472BA6D238EC}">
      <dgm:prSet/>
      <dgm:spPr/>
      <dgm:t>
        <a:bodyPr/>
        <a:lstStyle/>
        <a:p>
          <a:endParaRPr lang="en-SE" sz="1800"/>
        </a:p>
      </dgm:t>
    </dgm:pt>
    <dgm:pt modelId="{BD546476-BC40-483B-8BFD-29845B7D5F91}" type="sibTrans" cxnId="{7F1C419B-B52F-4793-9883-472BA6D238EC}">
      <dgm:prSet/>
      <dgm:spPr/>
      <dgm:t>
        <a:bodyPr/>
        <a:lstStyle/>
        <a:p>
          <a:endParaRPr lang="en-SE" sz="1800"/>
        </a:p>
      </dgm:t>
    </dgm:pt>
    <dgm:pt modelId="{ED13CEE2-3870-42A8-8BC8-ADAEF5BF6096}">
      <dgm:prSet custT="1"/>
      <dgm:spPr/>
      <dgm:t>
        <a:bodyPr/>
        <a:lstStyle/>
        <a:p>
          <a:r>
            <a:rPr lang="en-US" sz="1800" dirty="0"/>
            <a:t>Who can view Microsoft 365 Service Health Dashboard?</a:t>
          </a:r>
          <a:endParaRPr lang="nb-NO" sz="1800" dirty="0"/>
        </a:p>
      </dgm:t>
    </dgm:pt>
    <dgm:pt modelId="{E6829A64-F01E-4336-B936-C26760197C47}" type="parTrans" cxnId="{ADB04F49-880E-44C9-A29B-6B87F5D50C3C}">
      <dgm:prSet/>
      <dgm:spPr/>
      <dgm:t>
        <a:bodyPr/>
        <a:lstStyle/>
        <a:p>
          <a:endParaRPr lang="en-US" sz="1800"/>
        </a:p>
      </dgm:t>
    </dgm:pt>
    <dgm:pt modelId="{8EF979D9-D6D3-4BBA-A25E-DDDB30F6E2C4}" type="sibTrans" cxnId="{ADB04F49-880E-44C9-A29B-6B87F5D50C3C}">
      <dgm:prSet/>
      <dgm:spPr/>
      <dgm:t>
        <a:bodyPr/>
        <a:lstStyle/>
        <a:p>
          <a:endParaRPr lang="en-US" sz="1800"/>
        </a:p>
      </dgm:t>
    </dgm:pt>
    <dgm:pt modelId="{31A51DC0-6FB6-4391-BB98-72E6A269EADF}">
      <dgm:prSet custT="1"/>
      <dgm:spPr/>
      <dgm:t>
        <a:bodyPr/>
        <a:lstStyle/>
        <a:p>
          <a:r>
            <a:rPr lang="en-US" sz="1800" dirty="0"/>
            <a:t>Users who have been assigned any admin role in Microsoft 365 can view Message center posts. </a:t>
          </a:r>
          <a:endParaRPr lang="nb-NO" sz="1800" dirty="0"/>
        </a:p>
      </dgm:t>
    </dgm:pt>
    <dgm:pt modelId="{64A774A8-F0BC-40E2-9302-C483AB449D4E}" type="parTrans" cxnId="{3EA3E017-D80E-4E25-A1D9-BC91C22FC6D7}">
      <dgm:prSet/>
      <dgm:spPr/>
      <dgm:t>
        <a:bodyPr/>
        <a:lstStyle/>
        <a:p>
          <a:endParaRPr lang="en-SE" sz="1800"/>
        </a:p>
      </dgm:t>
    </dgm:pt>
    <dgm:pt modelId="{1077F035-CE48-4FFA-BA9F-055C7D9CD32A}" type="sibTrans" cxnId="{3EA3E017-D80E-4E25-A1D9-BC91C22FC6D7}">
      <dgm:prSet/>
      <dgm:spPr/>
      <dgm:t>
        <a:bodyPr/>
        <a:lstStyle/>
        <a:p>
          <a:endParaRPr lang="en-SE" sz="1800"/>
        </a:p>
      </dgm:t>
    </dgm:pt>
    <dgm:pt modelId="{0090F824-731E-46B1-A958-796FA2107177}">
      <dgm:prSet custT="1"/>
      <dgm:spPr/>
      <dgm:t>
        <a:bodyPr/>
        <a:lstStyle/>
        <a:p>
          <a:r>
            <a:rPr lang="en-US" sz="1800"/>
            <a:t>You can also assign the Message center reader role to users. </a:t>
          </a:r>
          <a:endParaRPr lang="nb-NO" sz="1800" dirty="0"/>
        </a:p>
      </dgm:t>
    </dgm:pt>
    <dgm:pt modelId="{882BE301-5213-4FA9-B132-E9F2DCA96EB8}" type="parTrans" cxnId="{DEA285F1-9A69-412B-BF82-0DE97D5BF37B}">
      <dgm:prSet/>
      <dgm:spPr/>
      <dgm:t>
        <a:bodyPr/>
        <a:lstStyle/>
        <a:p>
          <a:endParaRPr lang="en-SE" sz="1800"/>
        </a:p>
      </dgm:t>
    </dgm:pt>
    <dgm:pt modelId="{D36AD1C5-0FBE-41F3-B749-57FA87862FC1}" type="sibTrans" cxnId="{DEA285F1-9A69-412B-BF82-0DE97D5BF37B}">
      <dgm:prSet/>
      <dgm:spPr/>
      <dgm:t>
        <a:bodyPr/>
        <a:lstStyle/>
        <a:p>
          <a:endParaRPr lang="en-SE" sz="1800"/>
        </a:p>
      </dgm:t>
    </dgm:pt>
    <dgm:pt modelId="{C6134B74-1C96-41F8-BFEA-E5E421D6B024}">
      <dgm:prSet custT="1"/>
      <dgm:spPr/>
      <dgm:t>
        <a:bodyPr/>
        <a:lstStyle/>
        <a:p>
          <a:r>
            <a:rPr lang="en-US" sz="1800"/>
            <a:t>People who are assigned the global admin or service administrator role can view service health.</a:t>
          </a:r>
          <a:endParaRPr lang="nb-NO" sz="1800" dirty="0"/>
        </a:p>
      </dgm:t>
    </dgm:pt>
    <dgm:pt modelId="{ACCEEF2E-D1B9-47E0-B7A3-D67A1F690CD6}" type="parTrans" cxnId="{6CCAD422-448C-4C76-8F2D-C8DF44B3E69F}">
      <dgm:prSet/>
      <dgm:spPr/>
      <dgm:t>
        <a:bodyPr/>
        <a:lstStyle/>
        <a:p>
          <a:endParaRPr lang="en-SE" sz="1800"/>
        </a:p>
      </dgm:t>
    </dgm:pt>
    <dgm:pt modelId="{FE3ADF03-4E23-4202-9D3E-49D017BD05DE}" type="sibTrans" cxnId="{6CCAD422-448C-4C76-8F2D-C8DF44B3E69F}">
      <dgm:prSet/>
      <dgm:spPr/>
      <dgm:t>
        <a:bodyPr/>
        <a:lstStyle/>
        <a:p>
          <a:endParaRPr lang="en-SE" sz="1800"/>
        </a:p>
      </dgm:t>
    </dgm:pt>
    <dgm:pt modelId="{5CA24909-A84D-47BA-991C-FD18031080AC}" type="pres">
      <dgm:prSet presAssocID="{825CBF45-8B32-4B43-A1E3-0E08028C213D}" presName="linear" presStyleCnt="0">
        <dgm:presLayoutVars>
          <dgm:dir/>
          <dgm:animLvl val="lvl"/>
          <dgm:resizeHandles val="exact"/>
        </dgm:presLayoutVars>
      </dgm:prSet>
      <dgm:spPr/>
    </dgm:pt>
    <dgm:pt modelId="{7AE1A024-05CF-40B1-8D1C-0BFFFA35E0CF}" type="pres">
      <dgm:prSet presAssocID="{57E81416-9F88-41EA-928C-4F37D16D60D4}" presName="parentLin" presStyleCnt="0"/>
      <dgm:spPr/>
    </dgm:pt>
    <dgm:pt modelId="{FC56C459-2755-4FAE-B13B-792E68CEACB3}" type="pres">
      <dgm:prSet presAssocID="{57E81416-9F88-41EA-928C-4F37D16D60D4}" presName="parentLeftMargin" presStyleLbl="node1" presStyleIdx="0" presStyleCnt="4"/>
      <dgm:spPr/>
    </dgm:pt>
    <dgm:pt modelId="{D41BB360-384E-4B4B-B035-8290D1F7BDFE}" type="pres">
      <dgm:prSet presAssocID="{57E81416-9F88-41EA-928C-4F37D16D60D4}" presName="parentText" presStyleLbl="node1" presStyleIdx="0" presStyleCnt="4">
        <dgm:presLayoutVars>
          <dgm:chMax val="0"/>
          <dgm:bulletEnabled val="1"/>
        </dgm:presLayoutVars>
      </dgm:prSet>
      <dgm:spPr/>
    </dgm:pt>
    <dgm:pt modelId="{181CB6D0-D375-42AB-8649-EE1B76BCAC17}" type="pres">
      <dgm:prSet presAssocID="{57E81416-9F88-41EA-928C-4F37D16D60D4}" presName="negativeSpace" presStyleCnt="0"/>
      <dgm:spPr/>
    </dgm:pt>
    <dgm:pt modelId="{BD5B78BD-7178-4941-9868-2406CE39C04D}" type="pres">
      <dgm:prSet presAssocID="{57E81416-9F88-41EA-928C-4F37D16D60D4}" presName="childText" presStyleLbl="conFgAcc1" presStyleIdx="0" presStyleCnt="4">
        <dgm:presLayoutVars>
          <dgm:bulletEnabled val="1"/>
        </dgm:presLayoutVars>
      </dgm:prSet>
      <dgm:spPr/>
    </dgm:pt>
    <dgm:pt modelId="{A2CFA077-2ED6-4803-B18C-0EA1509E291B}" type="pres">
      <dgm:prSet presAssocID="{A0C3A25B-3BF3-403D-8B61-19A0CEE3EEF2}" presName="spaceBetweenRectangles" presStyleCnt="0"/>
      <dgm:spPr/>
    </dgm:pt>
    <dgm:pt modelId="{CC108698-64E2-4A81-8715-8C8ACF76A8D7}" type="pres">
      <dgm:prSet presAssocID="{66EBE955-EEAB-4A90-90E3-8F0ACF65565D}" presName="parentLin" presStyleCnt="0"/>
      <dgm:spPr/>
    </dgm:pt>
    <dgm:pt modelId="{3235FB8E-9251-4515-A5EB-251AE406B026}" type="pres">
      <dgm:prSet presAssocID="{66EBE955-EEAB-4A90-90E3-8F0ACF65565D}" presName="parentLeftMargin" presStyleLbl="node1" presStyleIdx="0" presStyleCnt="4"/>
      <dgm:spPr/>
    </dgm:pt>
    <dgm:pt modelId="{07F2746E-345B-42A5-9AB5-2847F5E49FC1}" type="pres">
      <dgm:prSet presAssocID="{66EBE955-EEAB-4A90-90E3-8F0ACF65565D}" presName="parentText" presStyleLbl="node1" presStyleIdx="1" presStyleCnt="4">
        <dgm:presLayoutVars>
          <dgm:chMax val="0"/>
          <dgm:bulletEnabled val="1"/>
        </dgm:presLayoutVars>
      </dgm:prSet>
      <dgm:spPr/>
    </dgm:pt>
    <dgm:pt modelId="{6A41E683-EFEE-420F-A9C7-D93BB9B0B8F1}" type="pres">
      <dgm:prSet presAssocID="{66EBE955-EEAB-4A90-90E3-8F0ACF65565D}" presName="negativeSpace" presStyleCnt="0"/>
      <dgm:spPr/>
    </dgm:pt>
    <dgm:pt modelId="{3EC07AA1-1292-4840-9D59-7BFF6AAECBA4}" type="pres">
      <dgm:prSet presAssocID="{66EBE955-EEAB-4A90-90E3-8F0ACF65565D}" presName="childText" presStyleLbl="conFgAcc1" presStyleIdx="1" presStyleCnt="4">
        <dgm:presLayoutVars>
          <dgm:bulletEnabled val="1"/>
        </dgm:presLayoutVars>
      </dgm:prSet>
      <dgm:spPr/>
    </dgm:pt>
    <dgm:pt modelId="{66187085-42C9-4D14-BD36-A3FFA1A415A2}" type="pres">
      <dgm:prSet presAssocID="{3A33112E-E044-4216-BD0B-208DD5E020BB}" presName="spaceBetweenRectangles" presStyleCnt="0"/>
      <dgm:spPr/>
    </dgm:pt>
    <dgm:pt modelId="{BC6D81CF-CCFA-4038-B660-4014F6EDAE0F}" type="pres">
      <dgm:prSet presAssocID="{14F7FADC-A968-4EEF-80A8-02894BE38511}" presName="parentLin" presStyleCnt="0"/>
      <dgm:spPr/>
    </dgm:pt>
    <dgm:pt modelId="{025018BA-4B87-4827-A942-CA3373AC6F89}" type="pres">
      <dgm:prSet presAssocID="{14F7FADC-A968-4EEF-80A8-02894BE38511}" presName="parentLeftMargin" presStyleLbl="node1" presStyleIdx="1" presStyleCnt="4"/>
      <dgm:spPr/>
    </dgm:pt>
    <dgm:pt modelId="{654648DE-9039-4609-8ED0-FC7DF465E506}" type="pres">
      <dgm:prSet presAssocID="{14F7FADC-A968-4EEF-80A8-02894BE38511}" presName="parentText" presStyleLbl="node1" presStyleIdx="2" presStyleCnt="4">
        <dgm:presLayoutVars>
          <dgm:chMax val="0"/>
          <dgm:bulletEnabled val="1"/>
        </dgm:presLayoutVars>
      </dgm:prSet>
      <dgm:spPr/>
    </dgm:pt>
    <dgm:pt modelId="{AC4CECD0-7303-460C-9612-D2F70B2630FD}" type="pres">
      <dgm:prSet presAssocID="{14F7FADC-A968-4EEF-80A8-02894BE38511}" presName="negativeSpace" presStyleCnt="0"/>
      <dgm:spPr/>
    </dgm:pt>
    <dgm:pt modelId="{CFAF0CE1-FD79-4DFE-A162-C709A99B5D8B}" type="pres">
      <dgm:prSet presAssocID="{14F7FADC-A968-4EEF-80A8-02894BE38511}" presName="childText" presStyleLbl="conFgAcc1" presStyleIdx="2" presStyleCnt="4">
        <dgm:presLayoutVars>
          <dgm:bulletEnabled val="1"/>
        </dgm:presLayoutVars>
      </dgm:prSet>
      <dgm:spPr/>
    </dgm:pt>
    <dgm:pt modelId="{13B6FD6E-A035-4059-9379-461E8EF09801}" type="pres">
      <dgm:prSet presAssocID="{BD546476-BC40-483B-8BFD-29845B7D5F91}" presName="spaceBetweenRectangles" presStyleCnt="0"/>
      <dgm:spPr/>
    </dgm:pt>
    <dgm:pt modelId="{046910EA-CA6E-44AE-8A91-01445343A046}" type="pres">
      <dgm:prSet presAssocID="{ED13CEE2-3870-42A8-8BC8-ADAEF5BF6096}" presName="parentLin" presStyleCnt="0"/>
      <dgm:spPr/>
    </dgm:pt>
    <dgm:pt modelId="{4A7478FA-21B3-486A-9B0B-99A7E9F80FA8}" type="pres">
      <dgm:prSet presAssocID="{ED13CEE2-3870-42A8-8BC8-ADAEF5BF6096}" presName="parentLeftMargin" presStyleLbl="node1" presStyleIdx="2" presStyleCnt="4"/>
      <dgm:spPr/>
    </dgm:pt>
    <dgm:pt modelId="{D2B7E05A-3A2D-48EE-B039-77FC73A9D63A}" type="pres">
      <dgm:prSet presAssocID="{ED13CEE2-3870-42A8-8BC8-ADAEF5BF6096}" presName="parentText" presStyleLbl="node1" presStyleIdx="3" presStyleCnt="4">
        <dgm:presLayoutVars>
          <dgm:chMax val="0"/>
          <dgm:bulletEnabled val="1"/>
        </dgm:presLayoutVars>
      </dgm:prSet>
      <dgm:spPr/>
    </dgm:pt>
    <dgm:pt modelId="{F41E5B06-FE7C-4679-BF69-888DD77356CE}" type="pres">
      <dgm:prSet presAssocID="{ED13CEE2-3870-42A8-8BC8-ADAEF5BF6096}" presName="negativeSpace" presStyleCnt="0"/>
      <dgm:spPr/>
    </dgm:pt>
    <dgm:pt modelId="{1865A3C6-E6EF-4645-B08B-DC02A9999E23}" type="pres">
      <dgm:prSet presAssocID="{ED13CEE2-3870-42A8-8BC8-ADAEF5BF6096}" presName="childText" presStyleLbl="conFgAcc1" presStyleIdx="3" presStyleCnt="4">
        <dgm:presLayoutVars>
          <dgm:bulletEnabled val="1"/>
        </dgm:presLayoutVars>
      </dgm:prSet>
      <dgm:spPr/>
    </dgm:pt>
  </dgm:ptLst>
  <dgm:cxnLst>
    <dgm:cxn modelId="{998C760C-BF4C-431B-BFF3-DD741661BD91}" type="presOf" srcId="{14F7FADC-A968-4EEF-80A8-02894BE38511}" destId="{025018BA-4B87-4827-A942-CA3373AC6F89}" srcOrd="0" destOrd="0" presId="urn:microsoft.com/office/officeart/2005/8/layout/list1"/>
    <dgm:cxn modelId="{3EA3E017-D80E-4E25-A1D9-BC91C22FC6D7}" srcId="{14F7FADC-A968-4EEF-80A8-02894BE38511}" destId="{31A51DC0-6FB6-4391-BB98-72E6A269EADF}" srcOrd="0" destOrd="0" parTransId="{64A774A8-F0BC-40E2-9302-C483AB449D4E}" sibTransId="{1077F035-CE48-4FFA-BA9F-055C7D9CD32A}"/>
    <dgm:cxn modelId="{6CCAD422-448C-4C76-8F2D-C8DF44B3E69F}" srcId="{ED13CEE2-3870-42A8-8BC8-ADAEF5BF6096}" destId="{C6134B74-1C96-41F8-BFEA-E5E421D6B024}" srcOrd="0" destOrd="0" parTransId="{ACCEEF2E-D1B9-47E0-B7A3-D67A1F690CD6}" sibTransId="{FE3ADF03-4E23-4202-9D3E-49D017BD05DE}"/>
    <dgm:cxn modelId="{39117B35-DEF8-4272-AF27-D828586CADCF}" type="presOf" srcId="{825CBF45-8B32-4B43-A1E3-0E08028C213D}" destId="{5CA24909-A84D-47BA-991C-FD18031080AC}" srcOrd="0" destOrd="0" presId="urn:microsoft.com/office/officeart/2005/8/layout/list1"/>
    <dgm:cxn modelId="{FD3AF865-3E42-47F6-BEE1-66BD1FDC78BD}" type="presOf" srcId="{272B5F75-0359-45B9-8790-404D1E07248D}" destId="{3EC07AA1-1292-4840-9D59-7BFF6AAECBA4}" srcOrd="0" destOrd="0" presId="urn:microsoft.com/office/officeart/2005/8/layout/list1"/>
    <dgm:cxn modelId="{ADB04F49-880E-44C9-A29B-6B87F5D50C3C}" srcId="{825CBF45-8B32-4B43-A1E3-0E08028C213D}" destId="{ED13CEE2-3870-42A8-8BC8-ADAEF5BF6096}" srcOrd="3" destOrd="0" parTransId="{E6829A64-F01E-4336-B936-C26760197C47}" sibTransId="{8EF979D9-D6D3-4BBA-A25E-DDDB30F6E2C4}"/>
    <dgm:cxn modelId="{A5BC1F70-6B65-422D-8356-509D2EB7D43E}" type="presOf" srcId="{57E81416-9F88-41EA-928C-4F37D16D60D4}" destId="{D41BB360-384E-4B4B-B035-8290D1F7BDFE}" srcOrd="1" destOrd="0" presId="urn:microsoft.com/office/officeart/2005/8/layout/list1"/>
    <dgm:cxn modelId="{59EA6A51-FC72-49D5-A025-4E577EA680FB}" type="presOf" srcId="{C6134B74-1C96-41F8-BFEA-E5E421D6B024}" destId="{1865A3C6-E6EF-4645-B08B-DC02A9999E23}" srcOrd="0" destOrd="0" presId="urn:microsoft.com/office/officeart/2005/8/layout/list1"/>
    <dgm:cxn modelId="{2E3D9754-29E0-4D68-85A6-717C93CD3429}" type="presOf" srcId="{66EBE955-EEAB-4A90-90E3-8F0ACF65565D}" destId="{07F2746E-345B-42A5-9AB5-2847F5E49FC1}" srcOrd="1" destOrd="0" presId="urn:microsoft.com/office/officeart/2005/8/layout/list1"/>
    <dgm:cxn modelId="{7AA4DD56-FE36-4ECB-85A6-B027F7CE67EB}" type="presOf" srcId="{57E81416-9F88-41EA-928C-4F37D16D60D4}" destId="{FC56C459-2755-4FAE-B13B-792E68CEACB3}" srcOrd="0" destOrd="0" presId="urn:microsoft.com/office/officeart/2005/8/layout/list1"/>
    <dgm:cxn modelId="{DB68E259-8397-44B6-A746-28BFC4D94305}" srcId="{825CBF45-8B32-4B43-A1E3-0E08028C213D}" destId="{57E81416-9F88-41EA-928C-4F37D16D60D4}" srcOrd="0" destOrd="0" parTransId="{ED5A189B-AFF7-4FD9-B025-C9A15C3A3B90}" sibTransId="{A0C3A25B-3BF3-403D-8B61-19A0CEE3EEF2}"/>
    <dgm:cxn modelId="{D36D157A-55E6-4CFC-A44C-2C7EBC748531}" type="presOf" srcId="{14F7FADC-A968-4EEF-80A8-02894BE38511}" destId="{654648DE-9039-4609-8ED0-FC7DF465E506}" srcOrd="1" destOrd="0" presId="urn:microsoft.com/office/officeart/2005/8/layout/list1"/>
    <dgm:cxn modelId="{7F1C419B-B52F-4793-9883-472BA6D238EC}" srcId="{825CBF45-8B32-4B43-A1E3-0E08028C213D}" destId="{14F7FADC-A968-4EEF-80A8-02894BE38511}" srcOrd="2" destOrd="0" parTransId="{02A54A93-0C62-4F64-98DF-10CCB53D4536}" sibTransId="{BD546476-BC40-483B-8BFD-29845B7D5F91}"/>
    <dgm:cxn modelId="{CFBBB29D-60EB-4D99-B530-E96FA39C06B1}" srcId="{57E81416-9F88-41EA-928C-4F37D16D60D4}" destId="{7B73EFC7-A6D9-45B8-95AE-5906F0E11FBB}" srcOrd="0" destOrd="0" parTransId="{A34AD5B9-492F-4B3B-B83E-012384827E27}" sibTransId="{B61B555B-CAC4-41A9-AD20-9330C6FFF90E}"/>
    <dgm:cxn modelId="{2AA662B4-69B0-4544-92DB-0F0E898D243E}" type="presOf" srcId="{0090F824-731E-46B1-A958-796FA2107177}" destId="{CFAF0CE1-FD79-4DFE-A162-C709A99B5D8B}" srcOrd="0" destOrd="1" presId="urn:microsoft.com/office/officeart/2005/8/layout/list1"/>
    <dgm:cxn modelId="{352D32B6-23DB-4FF2-9C78-FD207F9109CD}" srcId="{825CBF45-8B32-4B43-A1E3-0E08028C213D}" destId="{66EBE955-EEAB-4A90-90E3-8F0ACF65565D}" srcOrd="1" destOrd="0" parTransId="{DDCBAA36-E5BC-44F4-9D41-D09292F820A7}" sibTransId="{3A33112E-E044-4216-BD0B-208DD5E020BB}"/>
    <dgm:cxn modelId="{76CC86BA-6A06-4C40-B3D8-14C3331242F8}" srcId="{66EBE955-EEAB-4A90-90E3-8F0ACF65565D}" destId="{272B5F75-0359-45B9-8790-404D1E07248D}" srcOrd="0" destOrd="0" parTransId="{465CFA39-B049-4110-B9E8-DDEC75882A0F}" sibTransId="{E0CD4FE7-630C-48B5-9DFA-6E34802EF6DD}"/>
    <dgm:cxn modelId="{65B7F2DD-6E92-44D3-8D59-D1017C766126}" type="presOf" srcId="{31A51DC0-6FB6-4391-BB98-72E6A269EADF}" destId="{CFAF0CE1-FD79-4DFE-A162-C709A99B5D8B}" srcOrd="0" destOrd="0" presId="urn:microsoft.com/office/officeart/2005/8/layout/list1"/>
    <dgm:cxn modelId="{32E85BE3-13E6-4B0C-8A46-751B8AB43727}" type="presOf" srcId="{ED13CEE2-3870-42A8-8BC8-ADAEF5BF6096}" destId="{4A7478FA-21B3-486A-9B0B-99A7E9F80FA8}" srcOrd="0" destOrd="0" presId="urn:microsoft.com/office/officeart/2005/8/layout/list1"/>
    <dgm:cxn modelId="{72803FED-984D-4FA8-9461-D30F9F6D4E2F}" type="presOf" srcId="{66EBE955-EEAB-4A90-90E3-8F0ACF65565D}" destId="{3235FB8E-9251-4515-A5EB-251AE406B026}" srcOrd="0" destOrd="0" presId="urn:microsoft.com/office/officeart/2005/8/layout/list1"/>
    <dgm:cxn modelId="{B4F409EF-DE5F-40C1-9D74-B03F2A91F633}" type="presOf" srcId="{ED13CEE2-3870-42A8-8BC8-ADAEF5BF6096}" destId="{D2B7E05A-3A2D-48EE-B039-77FC73A9D63A}" srcOrd="1" destOrd="0" presId="urn:microsoft.com/office/officeart/2005/8/layout/list1"/>
    <dgm:cxn modelId="{DEA285F1-9A69-412B-BF82-0DE97D5BF37B}" srcId="{14F7FADC-A968-4EEF-80A8-02894BE38511}" destId="{0090F824-731E-46B1-A958-796FA2107177}" srcOrd="1" destOrd="0" parTransId="{882BE301-5213-4FA9-B132-E9F2DCA96EB8}" sibTransId="{D36AD1C5-0FBE-41F3-B749-57FA87862FC1}"/>
    <dgm:cxn modelId="{35790CFB-09A1-4CEA-B358-62322D60A56D}" type="presOf" srcId="{7B73EFC7-A6D9-45B8-95AE-5906F0E11FBB}" destId="{BD5B78BD-7178-4941-9868-2406CE39C04D}" srcOrd="0" destOrd="0" presId="urn:microsoft.com/office/officeart/2005/8/layout/list1"/>
    <dgm:cxn modelId="{D2F1E34F-12A0-4743-8813-55AF2FFC555E}" type="presParOf" srcId="{5CA24909-A84D-47BA-991C-FD18031080AC}" destId="{7AE1A024-05CF-40B1-8D1C-0BFFFA35E0CF}" srcOrd="0" destOrd="0" presId="urn:microsoft.com/office/officeart/2005/8/layout/list1"/>
    <dgm:cxn modelId="{CB8ABA86-A620-47C4-84AF-14C89FFE7C76}" type="presParOf" srcId="{7AE1A024-05CF-40B1-8D1C-0BFFFA35E0CF}" destId="{FC56C459-2755-4FAE-B13B-792E68CEACB3}" srcOrd="0" destOrd="0" presId="urn:microsoft.com/office/officeart/2005/8/layout/list1"/>
    <dgm:cxn modelId="{9CF12AC6-73F2-498C-9DBD-E659AED90F89}" type="presParOf" srcId="{7AE1A024-05CF-40B1-8D1C-0BFFFA35E0CF}" destId="{D41BB360-384E-4B4B-B035-8290D1F7BDFE}" srcOrd="1" destOrd="0" presId="urn:microsoft.com/office/officeart/2005/8/layout/list1"/>
    <dgm:cxn modelId="{FDE1E938-198B-4B18-B362-FD91B5841797}" type="presParOf" srcId="{5CA24909-A84D-47BA-991C-FD18031080AC}" destId="{181CB6D0-D375-42AB-8649-EE1B76BCAC17}" srcOrd="1" destOrd="0" presId="urn:microsoft.com/office/officeart/2005/8/layout/list1"/>
    <dgm:cxn modelId="{8226E7B2-DEC6-4C9A-AFBB-2FBADCDE80F6}" type="presParOf" srcId="{5CA24909-A84D-47BA-991C-FD18031080AC}" destId="{BD5B78BD-7178-4941-9868-2406CE39C04D}" srcOrd="2" destOrd="0" presId="urn:microsoft.com/office/officeart/2005/8/layout/list1"/>
    <dgm:cxn modelId="{0E5367CA-68C6-4462-8189-CDC84E51AFFA}" type="presParOf" srcId="{5CA24909-A84D-47BA-991C-FD18031080AC}" destId="{A2CFA077-2ED6-4803-B18C-0EA1509E291B}" srcOrd="3" destOrd="0" presId="urn:microsoft.com/office/officeart/2005/8/layout/list1"/>
    <dgm:cxn modelId="{CDB04E89-F8B8-4F3D-A4FA-A26C4C818D4A}" type="presParOf" srcId="{5CA24909-A84D-47BA-991C-FD18031080AC}" destId="{CC108698-64E2-4A81-8715-8C8ACF76A8D7}" srcOrd="4" destOrd="0" presId="urn:microsoft.com/office/officeart/2005/8/layout/list1"/>
    <dgm:cxn modelId="{00481895-E1E6-4BC9-9F17-C6224BFE0D21}" type="presParOf" srcId="{CC108698-64E2-4A81-8715-8C8ACF76A8D7}" destId="{3235FB8E-9251-4515-A5EB-251AE406B026}" srcOrd="0" destOrd="0" presId="urn:microsoft.com/office/officeart/2005/8/layout/list1"/>
    <dgm:cxn modelId="{6C4B0E18-BAA4-415C-9E4F-C6E0E5E2FDB5}" type="presParOf" srcId="{CC108698-64E2-4A81-8715-8C8ACF76A8D7}" destId="{07F2746E-345B-42A5-9AB5-2847F5E49FC1}" srcOrd="1" destOrd="0" presId="urn:microsoft.com/office/officeart/2005/8/layout/list1"/>
    <dgm:cxn modelId="{13E41788-2BB5-4571-993E-38D08D1F28E5}" type="presParOf" srcId="{5CA24909-A84D-47BA-991C-FD18031080AC}" destId="{6A41E683-EFEE-420F-A9C7-D93BB9B0B8F1}" srcOrd="5" destOrd="0" presId="urn:microsoft.com/office/officeart/2005/8/layout/list1"/>
    <dgm:cxn modelId="{4AD17384-5EF6-41CF-A8D4-AA952C324705}" type="presParOf" srcId="{5CA24909-A84D-47BA-991C-FD18031080AC}" destId="{3EC07AA1-1292-4840-9D59-7BFF6AAECBA4}" srcOrd="6" destOrd="0" presId="urn:microsoft.com/office/officeart/2005/8/layout/list1"/>
    <dgm:cxn modelId="{C9A24779-987D-4666-B99B-A268BCB1E22B}" type="presParOf" srcId="{5CA24909-A84D-47BA-991C-FD18031080AC}" destId="{66187085-42C9-4D14-BD36-A3FFA1A415A2}" srcOrd="7" destOrd="0" presId="urn:microsoft.com/office/officeart/2005/8/layout/list1"/>
    <dgm:cxn modelId="{96808762-D266-4127-B9AD-9CADC50FFF96}" type="presParOf" srcId="{5CA24909-A84D-47BA-991C-FD18031080AC}" destId="{BC6D81CF-CCFA-4038-B660-4014F6EDAE0F}" srcOrd="8" destOrd="0" presId="urn:microsoft.com/office/officeart/2005/8/layout/list1"/>
    <dgm:cxn modelId="{0ED5848A-8326-4531-A352-894D50A076F3}" type="presParOf" srcId="{BC6D81CF-CCFA-4038-B660-4014F6EDAE0F}" destId="{025018BA-4B87-4827-A942-CA3373AC6F89}" srcOrd="0" destOrd="0" presId="urn:microsoft.com/office/officeart/2005/8/layout/list1"/>
    <dgm:cxn modelId="{A06F71CC-E2B0-47AB-BB16-23E21E860AA5}" type="presParOf" srcId="{BC6D81CF-CCFA-4038-B660-4014F6EDAE0F}" destId="{654648DE-9039-4609-8ED0-FC7DF465E506}" srcOrd="1" destOrd="0" presId="urn:microsoft.com/office/officeart/2005/8/layout/list1"/>
    <dgm:cxn modelId="{F60601BA-BD5B-4F64-8B48-495CD61A9F93}" type="presParOf" srcId="{5CA24909-A84D-47BA-991C-FD18031080AC}" destId="{AC4CECD0-7303-460C-9612-D2F70B2630FD}" srcOrd="9" destOrd="0" presId="urn:microsoft.com/office/officeart/2005/8/layout/list1"/>
    <dgm:cxn modelId="{2DC26BF9-899B-48D0-8DB3-F40989BBB3FD}" type="presParOf" srcId="{5CA24909-A84D-47BA-991C-FD18031080AC}" destId="{CFAF0CE1-FD79-4DFE-A162-C709A99B5D8B}" srcOrd="10" destOrd="0" presId="urn:microsoft.com/office/officeart/2005/8/layout/list1"/>
    <dgm:cxn modelId="{22F43D9B-F875-4542-A52A-5DCE0B4AA5E2}" type="presParOf" srcId="{5CA24909-A84D-47BA-991C-FD18031080AC}" destId="{13B6FD6E-A035-4059-9379-461E8EF09801}" srcOrd="11" destOrd="0" presId="urn:microsoft.com/office/officeart/2005/8/layout/list1"/>
    <dgm:cxn modelId="{F873079C-A911-4713-9AFF-512DEFC2E750}" type="presParOf" srcId="{5CA24909-A84D-47BA-991C-FD18031080AC}" destId="{046910EA-CA6E-44AE-8A91-01445343A046}" srcOrd="12" destOrd="0" presId="urn:microsoft.com/office/officeart/2005/8/layout/list1"/>
    <dgm:cxn modelId="{D8D95883-EE11-40BA-AA08-AC17EA4AF3D6}" type="presParOf" srcId="{046910EA-CA6E-44AE-8A91-01445343A046}" destId="{4A7478FA-21B3-486A-9B0B-99A7E9F80FA8}" srcOrd="0" destOrd="0" presId="urn:microsoft.com/office/officeart/2005/8/layout/list1"/>
    <dgm:cxn modelId="{7D284653-4087-46D5-8E90-26C4E67F41C4}" type="presParOf" srcId="{046910EA-CA6E-44AE-8A91-01445343A046}" destId="{D2B7E05A-3A2D-48EE-B039-77FC73A9D63A}" srcOrd="1" destOrd="0" presId="urn:microsoft.com/office/officeart/2005/8/layout/list1"/>
    <dgm:cxn modelId="{6B947C9C-9357-4B02-AF4C-9A86569EE806}" type="presParOf" srcId="{5CA24909-A84D-47BA-991C-FD18031080AC}" destId="{F41E5B06-FE7C-4679-BF69-888DD77356CE}" srcOrd="13" destOrd="0" presId="urn:microsoft.com/office/officeart/2005/8/layout/list1"/>
    <dgm:cxn modelId="{14BD8E92-D740-454B-9617-9C70ED033A39}" type="presParOf" srcId="{5CA24909-A84D-47BA-991C-FD18031080AC}" destId="{1865A3C6-E6EF-4645-B08B-DC02A9999E23}"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E3E19C-13D8-47B3-AF14-27DA8D5DE2C9}"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41BC6E04-F5A4-48B0-8F8A-91E4146C60A5}">
      <dgm:prSet/>
      <dgm:spPr/>
      <dgm:t>
        <a:bodyPr/>
        <a:lstStyle/>
        <a:p>
          <a:r>
            <a:rPr lang="en-US" baseline="0">
              <a:latin typeface="+mj-lt"/>
            </a:rPr>
            <a:t>Name</a:t>
          </a:r>
          <a:endParaRPr lang="nb-NO">
            <a:latin typeface="+mj-lt"/>
          </a:endParaRPr>
        </a:p>
      </dgm:t>
    </dgm:pt>
    <dgm:pt modelId="{52E9C7CE-C871-4D82-A977-0D264402A5B2}" type="parTrans" cxnId="{C8AD902E-F416-49F3-AC92-6DF008DA1849}">
      <dgm:prSet/>
      <dgm:spPr/>
      <dgm:t>
        <a:bodyPr/>
        <a:lstStyle/>
        <a:p>
          <a:endParaRPr lang="en-US"/>
        </a:p>
      </dgm:t>
    </dgm:pt>
    <dgm:pt modelId="{0CE127A2-2483-44A7-9392-6D4A09A109B1}" type="sibTrans" cxnId="{C8AD902E-F416-49F3-AC92-6DF008DA1849}">
      <dgm:prSet/>
      <dgm:spPr/>
      <dgm:t>
        <a:bodyPr/>
        <a:lstStyle/>
        <a:p>
          <a:endParaRPr lang="en-US"/>
        </a:p>
      </dgm:t>
    </dgm:pt>
    <dgm:pt modelId="{5D01D3F5-6841-454D-AA45-3F1139DF59FF}">
      <dgm:prSet/>
      <dgm:spPr/>
      <dgm:t>
        <a:bodyPr/>
        <a:lstStyle/>
        <a:p>
          <a:r>
            <a:rPr lang="en-US" baseline="0">
              <a:latin typeface="+mj-lt"/>
            </a:rPr>
            <a:t>Role</a:t>
          </a:r>
          <a:endParaRPr lang="nb-NO">
            <a:latin typeface="+mj-lt"/>
          </a:endParaRPr>
        </a:p>
      </dgm:t>
    </dgm:pt>
    <dgm:pt modelId="{0562E19D-B0E5-4575-84CB-547BB99BA02B}" type="parTrans" cxnId="{957876B5-C2A0-4989-8C0D-A7BE3A7A198D}">
      <dgm:prSet/>
      <dgm:spPr/>
      <dgm:t>
        <a:bodyPr/>
        <a:lstStyle/>
        <a:p>
          <a:endParaRPr lang="en-US"/>
        </a:p>
      </dgm:t>
    </dgm:pt>
    <dgm:pt modelId="{9E76EEE6-5C88-49D5-A0C7-837E9E3A4ECE}" type="sibTrans" cxnId="{957876B5-C2A0-4989-8C0D-A7BE3A7A198D}">
      <dgm:prSet/>
      <dgm:spPr/>
      <dgm:t>
        <a:bodyPr/>
        <a:lstStyle/>
        <a:p>
          <a:endParaRPr lang="en-US"/>
        </a:p>
      </dgm:t>
    </dgm:pt>
    <dgm:pt modelId="{CE2122A5-3315-493C-9198-FFEEE7779BCA}">
      <dgm:prSet/>
      <dgm:spPr/>
      <dgm:t>
        <a:bodyPr/>
        <a:lstStyle/>
        <a:p>
          <a:r>
            <a:rPr lang="en-US" baseline="0">
              <a:latin typeface="+mj-lt"/>
            </a:rPr>
            <a:t>Timing</a:t>
          </a:r>
          <a:endParaRPr lang="nb-NO">
            <a:latin typeface="+mj-lt"/>
          </a:endParaRPr>
        </a:p>
      </dgm:t>
    </dgm:pt>
    <dgm:pt modelId="{E49CD195-B959-43E0-8A1A-681515C51EC2}" type="parTrans" cxnId="{CD3F7342-C41A-481E-9110-C5C8F4F300D3}">
      <dgm:prSet/>
      <dgm:spPr/>
      <dgm:t>
        <a:bodyPr/>
        <a:lstStyle/>
        <a:p>
          <a:endParaRPr lang="en-US"/>
        </a:p>
      </dgm:t>
    </dgm:pt>
    <dgm:pt modelId="{765D1162-D9B4-4353-8468-927BCC0C4D3C}" type="sibTrans" cxnId="{CD3F7342-C41A-481E-9110-C5C8F4F300D3}">
      <dgm:prSet/>
      <dgm:spPr/>
      <dgm:t>
        <a:bodyPr/>
        <a:lstStyle/>
        <a:p>
          <a:endParaRPr lang="en-US"/>
        </a:p>
      </dgm:t>
    </dgm:pt>
    <dgm:pt modelId="{E9DCD892-864B-4B09-AB72-270B0034BB7C}">
      <dgm:prSet/>
      <dgm:spPr/>
      <dgm:t>
        <a:bodyPr/>
        <a:lstStyle/>
        <a:p>
          <a:r>
            <a:rPr lang="en-US" baseline="0">
              <a:latin typeface="+mj-lt"/>
            </a:rPr>
            <a:t>Class: 9:00 to 5:00 </a:t>
          </a:r>
          <a:endParaRPr lang="nb-NO">
            <a:latin typeface="+mj-lt"/>
          </a:endParaRPr>
        </a:p>
      </dgm:t>
    </dgm:pt>
    <dgm:pt modelId="{47A46805-B31E-476A-8D6B-49615374C893}" type="parTrans" cxnId="{9389311D-FA0C-486E-9DF4-3DD0AB3DA019}">
      <dgm:prSet/>
      <dgm:spPr/>
      <dgm:t>
        <a:bodyPr/>
        <a:lstStyle/>
        <a:p>
          <a:endParaRPr lang="en-US"/>
        </a:p>
      </dgm:t>
    </dgm:pt>
    <dgm:pt modelId="{C607B927-19EC-4EF0-8591-F77D353822A5}" type="sibTrans" cxnId="{9389311D-FA0C-486E-9DF4-3DD0AB3DA019}">
      <dgm:prSet/>
      <dgm:spPr/>
      <dgm:t>
        <a:bodyPr/>
        <a:lstStyle/>
        <a:p>
          <a:endParaRPr lang="en-US"/>
        </a:p>
      </dgm:t>
    </dgm:pt>
    <dgm:pt modelId="{C06A5BC0-9091-4B12-9C54-A13F6F9F2180}">
      <dgm:prSet/>
      <dgm:spPr/>
      <dgm:t>
        <a:bodyPr/>
        <a:lstStyle/>
        <a:p>
          <a:r>
            <a:rPr lang="en-US" baseline="0">
              <a:latin typeface="+mj-lt"/>
            </a:rPr>
            <a:t>Lunch: 12:00 to 1:00</a:t>
          </a:r>
          <a:endParaRPr lang="nb-NO">
            <a:latin typeface="+mj-lt"/>
          </a:endParaRPr>
        </a:p>
      </dgm:t>
    </dgm:pt>
    <dgm:pt modelId="{452678A8-CFF5-4C8B-8AA1-63488810FA19}" type="parTrans" cxnId="{AEF9FAAC-DBA1-4431-B140-0DF736054F45}">
      <dgm:prSet/>
      <dgm:spPr/>
      <dgm:t>
        <a:bodyPr/>
        <a:lstStyle/>
        <a:p>
          <a:endParaRPr lang="en-US"/>
        </a:p>
      </dgm:t>
    </dgm:pt>
    <dgm:pt modelId="{95C4556B-AA83-4971-B826-880352B420DC}" type="sibTrans" cxnId="{AEF9FAAC-DBA1-4431-B140-0DF736054F45}">
      <dgm:prSet/>
      <dgm:spPr/>
      <dgm:t>
        <a:bodyPr/>
        <a:lstStyle/>
        <a:p>
          <a:endParaRPr lang="en-US"/>
        </a:p>
      </dgm:t>
    </dgm:pt>
    <dgm:pt modelId="{49BFF06D-EBEE-4C67-9C2F-F0131B76E6C3}" type="pres">
      <dgm:prSet presAssocID="{48E3E19C-13D8-47B3-AF14-27DA8D5DE2C9}" presName="vert0" presStyleCnt="0">
        <dgm:presLayoutVars>
          <dgm:dir/>
          <dgm:animOne val="branch"/>
          <dgm:animLvl val="lvl"/>
        </dgm:presLayoutVars>
      </dgm:prSet>
      <dgm:spPr/>
    </dgm:pt>
    <dgm:pt modelId="{6053C02D-CD7D-40EB-B76B-9097C993E205}" type="pres">
      <dgm:prSet presAssocID="{41BC6E04-F5A4-48B0-8F8A-91E4146C60A5}" presName="thickLine" presStyleLbl="alignNode1" presStyleIdx="0" presStyleCnt="3"/>
      <dgm:spPr/>
    </dgm:pt>
    <dgm:pt modelId="{1EB66C5B-AFFA-4708-83B8-AA93B5FC4014}" type="pres">
      <dgm:prSet presAssocID="{41BC6E04-F5A4-48B0-8F8A-91E4146C60A5}" presName="horz1" presStyleCnt="0"/>
      <dgm:spPr/>
    </dgm:pt>
    <dgm:pt modelId="{D1C0DEE9-530A-4642-8B71-C2DEE7BE64BF}" type="pres">
      <dgm:prSet presAssocID="{41BC6E04-F5A4-48B0-8F8A-91E4146C60A5}" presName="tx1" presStyleLbl="revTx" presStyleIdx="0" presStyleCnt="5"/>
      <dgm:spPr/>
    </dgm:pt>
    <dgm:pt modelId="{58FDAC81-62DA-4974-ABB6-5D7EFD8372A8}" type="pres">
      <dgm:prSet presAssocID="{41BC6E04-F5A4-48B0-8F8A-91E4146C60A5}" presName="vert1" presStyleCnt="0"/>
      <dgm:spPr/>
    </dgm:pt>
    <dgm:pt modelId="{83B13917-7FE1-449B-AA46-9E6179434083}" type="pres">
      <dgm:prSet presAssocID="{5D01D3F5-6841-454D-AA45-3F1139DF59FF}" presName="thickLine" presStyleLbl="alignNode1" presStyleIdx="1" presStyleCnt="3"/>
      <dgm:spPr/>
    </dgm:pt>
    <dgm:pt modelId="{0C736469-B8B2-4C16-871A-82950C02EBFC}" type="pres">
      <dgm:prSet presAssocID="{5D01D3F5-6841-454D-AA45-3F1139DF59FF}" presName="horz1" presStyleCnt="0"/>
      <dgm:spPr/>
    </dgm:pt>
    <dgm:pt modelId="{F57EA397-2933-4CE0-A4AC-1AE0B1056B6D}" type="pres">
      <dgm:prSet presAssocID="{5D01D3F5-6841-454D-AA45-3F1139DF59FF}" presName="tx1" presStyleLbl="revTx" presStyleIdx="1" presStyleCnt="5"/>
      <dgm:spPr/>
    </dgm:pt>
    <dgm:pt modelId="{2E82A8DF-B954-450C-8820-07931FCE1E48}" type="pres">
      <dgm:prSet presAssocID="{5D01D3F5-6841-454D-AA45-3F1139DF59FF}" presName="vert1" presStyleCnt="0"/>
      <dgm:spPr/>
    </dgm:pt>
    <dgm:pt modelId="{C87418CF-E8B1-47F1-BA36-728F92619F46}" type="pres">
      <dgm:prSet presAssocID="{CE2122A5-3315-493C-9198-FFEEE7779BCA}" presName="thickLine" presStyleLbl="alignNode1" presStyleIdx="2" presStyleCnt="3"/>
      <dgm:spPr/>
    </dgm:pt>
    <dgm:pt modelId="{46829BCD-B6D4-446C-964D-8A0C0D42DDD8}" type="pres">
      <dgm:prSet presAssocID="{CE2122A5-3315-493C-9198-FFEEE7779BCA}" presName="horz1" presStyleCnt="0"/>
      <dgm:spPr/>
    </dgm:pt>
    <dgm:pt modelId="{715A44A1-9F7F-4A4D-8198-C63703EE6D22}" type="pres">
      <dgm:prSet presAssocID="{CE2122A5-3315-493C-9198-FFEEE7779BCA}" presName="tx1" presStyleLbl="revTx" presStyleIdx="2" presStyleCnt="5"/>
      <dgm:spPr/>
    </dgm:pt>
    <dgm:pt modelId="{C1A9AAB5-959C-4B3F-84E9-806AC41B8B47}" type="pres">
      <dgm:prSet presAssocID="{CE2122A5-3315-493C-9198-FFEEE7779BCA}" presName="vert1" presStyleCnt="0"/>
      <dgm:spPr/>
    </dgm:pt>
    <dgm:pt modelId="{3702F663-0864-4E25-80D6-1939F0E7CB90}" type="pres">
      <dgm:prSet presAssocID="{E9DCD892-864B-4B09-AB72-270B0034BB7C}" presName="vertSpace2a" presStyleCnt="0"/>
      <dgm:spPr/>
    </dgm:pt>
    <dgm:pt modelId="{9CD70BB3-26A1-4414-A4EC-BF663B6758CC}" type="pres">
      <dgm:prSet presAssocID="{E9DCD892-864B-4B09-AB72-270B0034BB7C}" presName="horz2" presStyleCnt="0"/>
      <dgm:spPr/>
    </dgm:pt>
    <dgm:pt modelId="{E3BE7B8D-4B5A-47BE-84EE-076542675955}" type="pres">
      <dgm:prSet presAssocID="{E9DCD892-864B-4B09-AB72-270B0034BB7C}" presName="horzSpace2" presStyleCnt="0"/>
      <dgm:spPr/>
    </dgm:pt>
    <dgm:pt modelId="{0178C06A-C094-4AB2-98F8-8A11B2722B2D}" type="pres">
      <dgm:prSet presAssocID="{E9DCD892-864B-4B09-AB72-270B0034BB7C}" presName="tx2" presStyleLbl="revTx" presStyleIdx="3" presStyleCnt="5"/>
      <dgm:spPr/>
    </dgm:pt>
    <dgm:pt modelId="{766EFF11-5D30-4043-AC56-2BD248F7FBB4}" type="pres">
      <dgm:prSet presAssocID="{E9DCD892-864B-4B09-AB72-270B0034BB7C}" presName="vert2" presStyleCnt="0"/>
      <dgm:spPr/>
    </dgm:pt>
    <dgm:pt modelId="{FD64291A-A272-4C8F-8A27-45712B644612}" type="pres">
      <dgm:prSet presAssocID="{E9DCD892-864B-4B09-AB72-270B0034BB7C}" presName="thinLine2b" presStyleLbl="callout" presStyleIdx="0" presStyleCnt="2"/>
      <dgm:spPr/>
    </dgm:pt>
    <dgm:pt modelId="{E3E6978E-A640-4709-8595-8C6694580F28}" type="pres">
      <dgm:prSet presAssocID="{E9DCD892-864B-4B09-AB72-270B0034BB7C}" presName="vertSpace2b" presStyleCnt="0"/>
      <dgm:spPr/>
    </dgm:pt>
    <dgm:pt modelId="{6D6B51A0-A751-44A9-A7D5-B4E2DF748B89}" type="pres">
      <dgm:prSet presAssocID="{C06A5BC0-9091-4B12-9C54-A13F6F9F2180}" presName="horz2" presStyleCnt="0"/>
      <dgm:spPr/>
    </dgm:pt>
    <dgm:pt modelId="{2C284551-8F4F-46EA-840D-2C67FD1AA00F}" type="pres">
      <dgm:prSet presAssocID="{C06A5BC0-9091-4B12-9C54-A13F6F9F2180}" presName="horzSpace2" presStyleCnt="0"/>
      <dgm:spPr/>
    </dgm:pt>
    <dgm:pt modelId="{20D04B1C-2708-43A1-9CD2-5B8F87AEB2B1}" type="pres">
      <dgm:prSet presAssocID="{C06A5BC0-9091-4B12-9C54-A13F6F9F2180}" presName="tx2" presStyleLbl="revTx" presStyleIdx="4" presStyleCnt="5"/>
      <dgm:spPr/>
    </dgm:pt>
    <dgm:pt modelId="{012A5D56-F782-41D4-905F-9F22666C0A9F}" type="pres">
      <dgm:prSet presAssocID="{C06A5BC0-9091-4B12-9C54-A13F6F9F2180}" presName="vert2" presStyleCnt="0"/>
      <dgm:spPr/>
    </dgm:pt>
    <dgm:pt modelId="{1C600022-327D-4144-8B09-DD636FE60752}" type="pres">
      <dgm:prSet presAssocID="{C06A5BC0-9091-4B12-9C54-A13F6F9F2180}" presName="thinLine2b" presStyleLbl="callout" presStyleIdx="1" presStyleCnt="2"/>
      <dgm:spPr/>
    </dgm:pt>
    <dgm:pt modelId="{C8A11BE8-3F0E-40A5-8418-D52ED007A3CB}" type="pres">
      <dgm:prSet presAssocID="{C06A5BC0-9091-4B12-9C54-A13F6F9F2180}" presName="vertSpace2b" presStyleCnt="0"/>
      <dgm:spPr/>
    </dgm:pt>
  </dgm:ptLst>
  <dgm:cxnLst>
    <dgm:cxn modelId="{9389311D-FA0C-486E-9DF4-3DD0AB3DA019}" srcId="{CE2122A5-3315-493C-9198-FFEEE7779BCA}" destId="{E9DCD892-864B-4B09-AB72-270B0034BB7C}" srcOrd="0" destOrd="0" parTransId="{47A46805-B31E-476A-8D6B-49615374C893}" sibTransId="{C607B927-19EC-4EF0-8591-F77D353822A5}"/>
    <dgm:cxn modelId="{E3CB942D-FEE9-4F14-9987-7AA2811115AB}" type="presOf" srcId="{E9DCD892-864B-4B09-AB72-270B0034BB7C}" destId="{0178C06A-C094-4AB2-98F8-8A11B2722B2D}" srcOrd="0" destOrd="0" presId="urn:microsoft.com/office/officeart/2008/layout/LinedList"/>
    <dgm:cxn modelId="{C8AD902E-F416-49F3-AC92-6DF008DA1849}" srcId="{48E3E19C-13D8-47B3-AF14-27DA8D5DE2C9}" destId="{41BC6E04-F5A4-48B0-8F8A-91E4146C60A5}" srcOrd="0" destOrd="0" parTransId="{52E9C7CE-C871-4D82-A977-0D264402A5B2}" sibTransId="{0CE127A2-2483-44A7-9392-6D4A09A109B1}"/>
    <dgm:cxn modelId="{FCD39F38-F92C-4AA3-ABDA-7AD252CBEB84}" type="presOf" srcId="{48E3E19C-13D8-47B3-AF14-27DA8D5DE2C9}" destId="{49BFF06D-EBEE-4C67-9C2F-F0131B76E6C3}" srcOrd="0" destOrd="0" presId="urn:microsoft.com/office/officeart/2008/layout/LinedList"/>
    <dgm:cxn modelId="{CD3F7342-C41A-481E-9110-C5C8F4F300D3}" srcId="{48E3E19C-13D8-47B3-AF14-27DA8D5DE2C9}" destId="{CE2122A5-3315-493C-9198-FFEEE7779BCA}" srcOrd="2" destOrd="0" parTransId="{E49CD195-B959-43E0-8A1A-681515C51EC2}" sibTransId="{765D1162-D9B4-4353-8468-927BCC0C4D3C}"/>
    <dgm:cxn modelId="{70616866-1F3C-4C03-9D3B-B49F6C6F11CB}" type="presOf" srcId="{CE2122A5-3315-493C-9198-FFEEE7779BCA}" destId="{715A44A1-9F7F-4A4D-8198-C63703EE6D22}" srcOrd="0" destOrd="0" presId="urn:microsoft.com/office/officeart/2008/layout/LinedList"/>
    <dgm:cxn modelId="{7BB98F49-F8C0-4661-8412-92BAE6586442}" type="presOf" srcId="{41BC6E04-F5A4-48B0-8F8A-91E4146C60A5}" destId="{D1C0DEE9-530A-4642-8B71-C2DEE7BE64BF}" srcOrd="0" destOrd="0" presId="urn:microsoft.com/office/officeart/2008/layout/LinedList"/>
    <dgm:cxn modelId="{6D7B307A-1D35-4FED-A7B9-EE64445D2BD5}" type="presOf" srcId="{C06A5BC0-9091-4B12-9C54-A13F6F9F2180}" destId="{20D04B1C-2708-43A1-9CD2-5B8F87AEB2B1}" srcOrd="0" destOrd="0" presId="urn:microsoft.com/office/officeart/2008/layout/LinedList"/>
    <dgm:cxn modelId="{955D2999-345F-4E66-B101-13A54B2DF6BF}" type="presOf" srcId="{5D01D3F5-6841-454D-AA45-3F1139DF59FF}" destId="{F57EA397-2933-4CE0-A4AC-1AE0B1056B6D}" srcOrd="0" destOrd="0" presId="urn:microsoft.com/office/officeart/2008/layout/LinedList"/>
    <dgm:cxn modelId="{AEF9FAAC-DBA1-4431-B140-0DF736054F45}" srcId="{CE2122A5-3315-493C-9198-FFEEE7779BCA}" destId="{C06A5BC0-9091-4B12-9C54-A13F6F9F2180}" srcOrd="1" destOrd="0" parTransId="{452678A8-CFF5-4C8B-8AA1-63488810FA19}" sibTransId="{95C4556B-AA83-4971-B826-880352B420DC}"/>
    <dgm:cxn modelId="{957876B5-C2A0-4989-8C0D-A7BE3A7A198D}" srcId="{48E3E19C-13D8-47B3-AF14-27DA8D5DE2C9}" destId="{5D01D3F5-6841-454D-AA45-3F1139DF59FF}" srcOrd="1" destOrd="0" parTransId="{0562E19D-B0E5-4575-84CB-547BB99BA02B}" sibTransId="{9E76EEE6-5C88-49D5-A0C7-837E9E3A4ECE}"/>
    <dgm:cxn modelId="{84403077-7673-4E12-8B16-52020B3524D1}" type="presParOf" srcId="{49BFF06D-EBEE-4C67-9C2F-F0131B76E6C3}" destId="{6053C02D-CD7D-40EB-B76B-9097C993E205}" srcOrd="0" destOrd="0" presId="urn:microsoft.com/office/officeart/2008/layout/LinedList"/>
    <dgm:cxn modelId="{887CA711-9A01-4B39-B04A-CC67EF11705D}" type="presParOf" srcId="{49BFF06D-EBEE-4C67-9C2F-F0131B76E6C3}" destId="{1EB66C5B-AFFA-4708-83B8-AA93B5FC4014}" srcOrd="1" destOrd="0" presId="urn:microsoft.com/office/officeart/2008/layout/LinedList"/>
    <dgm:cxn modelId="{4D691318-ED96-4D4C-AEB3-EDB01E2F5039}" type="presParOf" srcId="{1EB66C5B-AFFA-4708-83B8-AA93B5FC4014}" destId="{D1C0DEE9-530A-4642-8B71-C2DEE7BE64BF}" srcOrd="0" destOrd="0" presId="urn:microsoft.com/office/officeart/2008/layout/LinedList"/>
    <dgm:cxn modelId="{21362B9F-21EF-4F7A-98C1-0F5903ADC7A0}" type="presParOf" srcId="{1EB66C5B-AFFA-4708-83B8-AA93B5FC4014}" destId="{58FDAC81-62DA-4974-ABB6-5D7EFD8372A8}" srcOrd="1" destOrd="0" presId="urn:microsoft.com/office/officeart/2008/layout/LinedList"/>
    <dgm:cxn modelId="{C323312C-4318-4DE7-93FB-AE136FC3164A}" type="presParOf" srcId="{49BFF06D-EBEE-4C67-9C2F-F0131B76E6C3}" destId="{83B13917-7FE1-449B-AA46-9E6179434083}" srcOrd="2" destOrd="0" presId="urn:microsoft.com/office/officeart/2008/layout/LinedList"/>
    <dgm:cxn modelId="{B6D4C299-2D01-4583-8A3A-63482F47B06F}" type="presParOf" srcId="{49BFF06D-EBEE-4C67-9C2F-F0131B76E6C3}" destId="{0C736469-B8B2-4C16-871A-82950C02EBFC}" srcOrd="3" destOrd="0" presId="urn:microsoft.com/office/officeart/2008/layout/LinedList"/>
    <dgm:cxn modelId="{B0F8CADA-3084-4002-83AA-8D0AD9064A7F}" type="presParOf" srcId="{0C736469-B8B2-4C16-871A-82950C02EBFC}" destId="{F57EA397-2933-4CE0-A4AC-1AE0B1056B6D}" srcOrd="0" destOrd="0" presId="urn:microsoft.com/office/officeart/2008/layout/LinedList"/>
    <dgm:cxn modelId="{A0B2CB24-9704-42B9-AB70-5E3EA4D97651}" type="presParOf" srcId="{0C736469-B8B2-4C16-871A-82950C02EBFC}" destId="{2E82A8DF-B954-450C-8820-07931FCE1E48}" srcOrd="1" destOrd="0" presId="urn:microsoft.com/office/officeart/2008/layout/LinedList"/>
    <dgm:cxn modelId="{C50D2DF6-B6DF-45F4-BEE5-E27E01E0287B}" type="presParOf" srcId="{49BFF06D-EBEE-4C67-9C2F-F0131B76E6C3}" destId="{C87418CF-E8B1-47F1-BA36-728F92619F46}" srcOrd="4" destOrd="0" presId="urn:microsoft.com/office/officeart/2008/layout/LinedList"/>
    <dgm:cxn modelId="{FBB6AD7E-493F-4891-878C-D17057029FF9}" type="presParOf" srcId="{49BFF06D-EBEE-4C67-9C2F-F0131B76E6C3}" destId="{46829BCD-B6D4-446C-964D-8A0C0D42DDD8}" srcOrd="5" destOrd="0" presId="urn:microsoft.com/office/officeart/2008/layout/LinedList"/>
    <dgm:cxn modelId="{71459CEA-9731-406E-BFF8-4C2DB3AB4E9F}" type="presParOf" srcId="{46829BCD-B6D4-446C-964D-8A0C0D42DDD8}" destId="{715A44A1-9F7F-4A4D-8198-C63703EE6D22}" srcOrd="0" destOrd="0" presId="urn:microsoft.com/office/officeart/2008/layout/LinedList"/>
    <dgm:cxn modelId="{4A8C8E28-11D5-4448-8F4E-5FB4EADA74E1}" type="presParOf" srcId="{46829BCD-B6D4-446C-964D-8A0C0D42DDD8}" destId="{C1A9AAB5-959C-4B3F-84E9-806AC41B8B47}" srcOrd="1" destOrd="0" presId="urn:microsoft.com/office/officeart/2008/layout/LinedList"/>
    <dgm:cxn modelId="{FEDA398D-01D1-4FDF-92C6-45FCF4661764}" type="presParOf" srcId="{C1A9AAB5-959C-4B3F-84E9-806AC41B8B47}" destId="{3702F663-0864-4E25-80D6-1939F0E7CB90}" srcOrd="0" destOrd="0" presId="urn:microsoft.com/office/officeart/2008/layout/LinedList"/>
    <dgm:cxn modelId="{D4611AAC-587C-4D11-B0BA-129DB9AFE1AB}" type="presParOf" srcId="{C1A9AAB5-959C-4B3F-84E9-806AC41B8B47}" destId="{9CD70BB3-26A1-4414-A4EC-BF663B6758CC}" srcOrd="1" destOrd="0" presId="urn:microsoft.com/office/officeart/2008/layout/LinedList"/>
    <dgm:cxn modelId="{E79893F9-99A8-43B2-B759-ED8A6C03401D}" type="presParOf" srcId="{9CD70BB3-26A1-4414-A4EC-BF663B6758CC}" destId="{E3BE7B8D-4B5A-47BE-84EE-076542675955}" srcOrd="0" destOrd="0" presId="urn:microsoft.com/office/officeart/2008/layout/LinedList"/>
    <dgm:cxn modelId="{9F6A7533-4B61-43A0-9198-A562E7B86909}" type="presParOf" srcId="{9CD70BB3-26A1-4414-A4EC-BF663B6758CC}" destId="{0178C06A-C094-4AB2-98F8-8A11B2722B2D}" srcOrd="1" destOrd="0" presId="urn:microsoft.com/office/officeart/2008/layout/LinedList"/>
    <dgm:cxn modelId="{16802A9A-15A3-4B96-BE87-EF847B06EF27}" type="presParOf" srcId="{9CD70BB3-26A1-4414-A4EC-BF663B6758CC}" destId="{766EFF11-5D30-4043-AC56-2BD248F7FBB4}" srcOrd="2" destOrd="0" presId="urn:microsoft.com/office/officeart/2008/layout/LinedList"/>
    <dgm:cxn modelId="{A88FE22F-27C4-4177-BCED-31ACEDD462C8}" type="presParOf" srcId="{C1A9AAB5-959C-4B3F-84E9-806AC41B8B47}" destId="{FD64291A-A272-4C8F-8A27-45712B644612}" srcOrd="2" destOrd="0" presId="urn:microsoft.com/office/officeart/2008/layout/LinedList"/>
    <dgm:cxn modelId="{84581BE4-010E-42DE-9081-41105184E079}" type="presParOf" srcId="{C1A9AAB5-959C-4B3F-84E9-806AC41B8B47}" destId="{E3E6978E-A640-4709-8595-8C6694580F28}" srcOrd="3" destOrd="0" presId="urn:microsoft.com/office/officeart/2008/layout/LinedList"/>
    <dgm:cxn modelId="{95EAC4F4-C5DC-470C-A184-AD9E90D852E3}" type="presParOf" srcId="{C1A9AAB5-959C-4B3F-84E9-806AC41B8B47}" destId="{6D6B51A0-A751-44A9-A7D5-B4E2DF748B89}" srcOrd="4" destOrd="0" presId="urn:microsoft.com/office/officeart/2008/layout/LinedList"/>
    <dgm:cxn modelId="{018BAD27-8752-4964-932A-16621DF03CB2}" type="presParOf" srcId="{6D6B51A0-A751-44A9-A7D5-B4E2DF748B89}" destId="{2C284551-8F4F-46EA-840D-2C67FD1AA00F}" srcOrd="0" destOrd="0" presId="urn:microsoft.com/office/officeart/2008/layout/LinedList"/>
    <dgm:cxn modelId="{9F713D77-FC22-44B3-87B5-C04B30339A33}" type="presParOf" srcId="{6D6B51A0-A751-44A9-A7D5-B4E2DF748B89}" destId="{20D04B1C-2708-43A1-9CD2-5B8F87AEB2B1}" srcOrd="1" destOrd="0" presId="urn:microsoft.com/office/officeart/2008/layout/LinedList"/>
    <dgm:cxn modelId="{E9C81892-2BF2-4FEF-9E39-46CF49CAD2AA}" type="presParOf" srcId="{6D6B51A0-A751-44A9-A7D5-B4E2DF748B89}" destId="{012A5D56-F782-41D4-905F-9F22666C0A9F}" srcOrd="2" destOrd="0" presId="urn:microsoft.com/office/officeart/2008/layout/LinedList"/>
    <dgm:cxn modelId="{CC90BD86-97AE-40D3-A5EF-AED51615540D}" type="presParOf" srcId="{C1A9AAB5-959C-4B3F-84E9-806AC41B8B47}" destId="{1C600022-327D-4144-8B09-DD636FE60752}" srcOrd="5" destOrd="0" presId="urn:microsoft.com/office/officeart/2008/layout/LinedList"/>
    <dgm:cxn modelId="{09AFFE8B-D1D5-436B-801F-3952ED8D0711}" type="presParOf" srcId="{C1A9AAB5-959C-4B3F-84E9-806AC41B8B47}" destId="{C8A11BE8-3F0E-40A5-8418-D52ED007A3CB}" srcOrd="6"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AE03D9-6B1A-4331-8240-2DC23593AADD}"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9F17EF48-CA0E-4D9A-BF66-BB416DABB7B9}">
      <dgm:prSet/>
      <dgm:spPr/>
      <dgm:t>
        <a:bodyPr/>
        <a:lstStyle/>
        <a:p>
          <a:r>
            <a:rPr lang="en-US" dirty="0"/>
            <a:t>M365 Apps for the Enterprise</a:t>
          </a:r>
        </a:p>
      </dgm:t>
    </dgm:pt>
    <dgm:pt modelId="{94549E4E-B7D5-448A-B213-EA7DE21D3B26}" type="parTrans" cxnId="{BF263B9A-7786-41DA-A102-6E9EF501E6DA}">
      <dgm:prSet/>
      <dgm:spPr/>
      <dgm:t>
        <a:bodyPr/>
        <a:lstStyle/>
        <a:p>
          <a:endParaRPr lang="en-US"/>
        </a:p>
      </dgm:t>
    </dgm:pt>
    <dgm:pt modelId="{7C6C9157-A1EB-43D5-9C41-64F53C72573F}" type="sibTrans" cxnId="{BF263B9A-7786-41DA-A102-6E9EF501E6DA}">
      <dgm:prSet/>
      <dgm:spPr/>
      <dgm:t>
        <a:bodyPr/>
        <a:lstStyle/>
        <a:p>
          <a:endParaRPr lang="en-US"/>
        </a:p>
      </dgm:t>
    </dgm:pt>
    <dgm:pt modelId="{1B98C83B-50DF-49DE-8208-2D0EA398B819}">
      <dgm:prSet/>
      <dgm:spPr/>
      <dgm:t>
        <a:bodyPr/>
        <a:lstStyle/>
        <a:p>
          <a:r>
            <a:rPr lang="en-US" baseline="0" dirty="0"/>
            <a:t>Flexible pay-as-you-go, per-user licensing</a:t>
          </a:r>
          <a:endParaRPr lang="en-US" dirty="0"/>
        </a:p>
      </dgm:t>
    </dgm:pt>
    <dgm:pt modelId="{F1D861B4-235C-4696-A505-C5CF0DF5B3EC}" type="parTrans" cxnId="{EEAC8C29-6A52-44C4-85A3-FA71B84DEA3B}">
      <dgm:prSet/>
      <dgm:spPr/>
      <dgm:t>
        <a:bodyPr/>
        <a:lstStyle/>
        <a:p>
          <a:endParaRPr lang="en-US"/>
        </a:p>
      </dgm:t>
    </dgm:pt>
    <dgm:pt modelId="{0D18F5FF-EB37-45A6-91AA-249B8E66459E}" type="sibTrans" cxnId="{EEAC8C29-6A52-44C4-85A3-FA71B84DEA3B}">
      <dgm:prSet/>
      <dgm:spPr/>
      <dgm:t>
        <a:bodyPr/>
        <a:lstStyle/>
        <a:p>
          <a:endParaRPr lang="en-US"/>
        </a:p>
      </dgm:t>
    </dgm:pt>
    <dgm:pt modelId="{E46E52AB-E4B8-4F8C-A2ED-51FF4A21155D}">
      <dgm:prSet/>
      <dgm:spPr/>
      <dgm:t>
        <a:bodyPr/>
        <a:lstStyle/>
        <a:p>
          <a:r>
            <a:rPr lang="en-US" baseline="0" dirty="0"/>
            <a:t>Office experience with services integration in Microsoft 365 </a:t>
          </a:r>
          <a:endParaRPr lang="en-US" dirty="0"/>
        </a:p>
      </dgm:t>
    </dgm:pt>
    <dgm:pt modelId="{9A09FA3A-4CAB-40F2-A02F-A4FC39858660}" type="parTrans" cxnId="{660C9D73-76DD-4DCC-B319-25BEF1710D5F}">
      <dgm:prSet/>
      <dgm:spPr/>
      <dgm:t>
        <a:bodyPr/>
        <a:lstStyle/>
        <a:p>
          <a:endParaRPr lang="en-US"/>
        </a:p>
      </dgm:t>
    </dgm:pt>
    <dgm:pt modelId="{33B981CE-A826-47F5-9C8A-2C692AA0D073}" type="sibTrans" cxnId="{660C9D73-76DD-4DCC-B319-25BEF1710D5F}">
      <dgm:prSet/>
      <dgm:spPr/>
      <dgm:t>
        <a:bodyPr/>
        <a:lstStyle/>
        <a:p>
          <a:endParaRPr lang="en-US"/>
        </a:p>
      </dgm:t>
    </dgm:pt>
    <dgm:pt modelId="{22D035B7-0A68-4E82-BA58-978F8EF7E1FE}">
      <dgm:prSet/>
      <dgm:spPr/>
      <dgm:t>
        <a:bodyPr/>
        <a:lstStyle/>
        <a:p>
          <a:r>
            <a:rPr lang="en-US" baseline="0"/>
            <a:t>Allows for activation on up to 5 devices + 5 mobile devices per each User SL </a:t>
          </a:r>
          <a:endParaRPr lang="en-US"/>
        </a:p>
      </dgm:t>
    </dgm:pt>
    <dgm:pt modelId="{DF51B3CD-F283-4E07-B9A5-230AE9BF6590}" type="parTrans" cxnId="{4EB9A290-5EAE-4917-B59E-11B74DB8B554}">
      <dgm:prSet/>
      <dgm:spPr/>
      <dgm:t>
        <a:bodyPr/>
        <a:lstStyle/>
        <a:p>
          <a:endParaRPr lang="en-US"/>
        </a:p>
      </dgm:t>
    </dgm:pt>
    <dgm:pt modelId="{B00DA8F0-8D3A-40FB-B7F2-438773A16CA8}" type="sibTrans" cxnId="{4EB9A290-5EAE-4917-B59E-11B74DB8B554}">
      <dgm:prSet/>
      <dgm:spPr/>
      <dgm:t>
        <a:bodyPr/>
        <a:lstStyle/>
        <a:p>
          <a:endParaRPr lang="en-US"/>
        </a:p>
      </dgm:t>
    </dgm:pt>
    <dgm:pt modelId="{E87A6611-CA09-4CE8-A837-2F89B66A4CFF}">
      <dgm:prSet/>
      <dgm:spPr/>
      <dgm:t>
        <a:bodyPr/>
        <a:lstStyle/>
        <a:p>
          <a:r>
            <a:rPr lang="en-US" baseline="0"/>
            <a:t>SharePoint Online</a:t>
          </a:r>
          <a:endParaRPr lang="en-US"/>
        </a:p>
      </dgm:t>
    </dgm:pt>
    <dgm:pt modelId="{D1F44316-8DB9-4B51-B873-08FF88531FD6}" type="parTrans" cxnId="{3BF2E823-8380-4B25-BE01-D2CAABA5C501}">
      <dgm:prSet/>
      <dgm:spPr/>
      <dgm:t>
        <a:bodyPr/>
        <a:lstStyle/>
        <a:p>
          <a:endParaRPr lang="en-US"/>
        </a:p>
      </dgm:t>
    </dgm:pt>
    <dgm:pt modelId="{ED6B2665-883D-4C52-85CF-2A5C80A730C4}" type="sibTrans" cxnId="{3BF2E823-8380-4B25-BE01-D2CAABA5C501}">
      <dgm:prSet/>
      <dgm:spPr/>
      <dgm:t>
        <a:bodyPr/>
        <a:lstStyle/>
        <a:p>
          <a:endParaRPr lang="en-US"/>
        </a:p>
      </dgm:t>
    </dgm:pt>
    <dgm:pt modelId="{C2A26DA7-7CB4-4E4E-8C9F-A82BFCD85C79}">
      <dgm:prSet/>
      <dgm:spPr/>
      <dgm:t>
        <a:bodyPr/>
        <a:lstStyle/>
        <a:p>
          <a:r>
            <a:rPr lang="en-US" baseline="0"/>
            <a:t>Share and Search important documents, insights, </a:t>
          </a:r>
          <a:br>
            <a:rPr lang="en-US" baseline="0"/>
          </a:br>
          <a:r>
            <a:rPr lang="en-US" baseline="0"/>
            <a:t>and status with colleagues </a:t>
          </a:r>
          <a:endParaRPr lang="en-US"/>
        </a:p>
      </dgm:t>
    </dgm:pt>
    <dgm:pt modelId="{BD9C6DE6-B11E-4DFA-869A-193014EA8CCD}" type="parTrans" cxnId="{72D648B7-8909-46CF-934C-80548CBBD0E1}">
      <dgm:prSet/>
      <dgm:spPr/>
      <dgm:t>
        <a:bodyPr/>
        <a:lstStyle/>
        <a:p>
          <a:endParaRPr lang="en-US"/>
        </a:p>
      </dgm:t>
    </dgm:pt>
    <dgm:pt modelId="{F66A4A12-572E-4FAB-8E35-6264E105A3AB}" type="sibTrans" cxnId="{72D648B7-8909-46CF-934C-80548CBBD0E1}">
      <dgm:prSet/>
      <dgm:spPr/>
      <dgm:t>
        <a:bodyPr/>
        <a:lstStyle/>
        <a:p>
          <a:endParaRPr lang="en-US"/>
        </a:p>
      </dgm:t>
    </dgm:pt>
    <dgm:pt modelId="{B1CC1E34-C80F-4453-B3E3-A63D9ABF2DCF}">
      <dgm:prSet/>
      <dgm:spPr/>
      <dgm:t>
        <a:bodyPr/>
        <a:lstStyle/>
        <a:p>
          <a:r>
            <a:rPr lang="en-US" baseline="0"/>
            <a:t>Default tenant storage of 1 TB + (10GB per user subscription)</a:t>
          </a:r>
          <a:endParaRPr lang="en-US"/>
        </a:p>
      </dgm:t>
    </dgm:pt>
    <dgm:pt modelId="{3DA8B1BA-AB03-4885-B7E0-96670F9392B7}" type="parTrans" cxnId="{27A59689-6601-40C0-B6C1-CC28CDD5A61D}">
      <dgm:prSet/>
      <dgm:spPr/>
      <dgm:t>
        <a:bodyPr/>
        <a:lstStyle/>
        <a:p>
          <a:endParaRPr lang="en-US"/>
        </a:p>
      </dgm:t>
    </dgm:pt>
    <dgm:pt modelId="{7248443C-65D2-484A-B06A-082210F02366}" type="sibTrans" cxnId="{27A59689-6601-40C0-B6C1-CC28CDD5A61D}">
      <dgm:prSet/>
      <dgm:spPr/>
      <dgm:t>
        <a:bodyPr/>
        <a:lstStyle/>
        <a:p>
          <a:endParaRPr lang="en-US"/>
        </a:p>
      </dgm:t>
    </dgm:pt>
    <dgm:pt modelId="{F1EE4021-4753-4904-A5C1-E8F0C215D077}">
      <dgm:prSet/>
      <dgm:spPr/>
      <dgm:t>
        <a:bodyPr/>
        <a:lstStyle/>
        <a:p>
          <a:r>
            <a:rPr lang="en-US" baseline="0"/>
            <a:t>Unlimited OneDrive for Business storage per user (separate from the total tenant storage)</a:t>
          </a:r>
          <a:endParaRPr lang="en-US"/>
        </a:p>
      </dgm:t>
    </dgm:pt>
    <dgm:pt modelId="{00F78273-CC42-48C0-9E1E-BA3295D07F43}" type="parTrans" cxnId="{3DA30858-FF91-4742-A80D-1DD3A7D18B31}">
      <dgm:prSet/>
      <dgm:spPr/>
      <dgm:t>
        <a:bodyPr/>
        <a:lstStyle/>
        <a:p>
          <a:endParaRPr lang="en-US"/>
        </a:p>
      </dgm:t>
    </dgm:pt>
    <dgm:pt modelId="{3A0D0494-BFDF-4E97-8DF5-19E1A771D8A7}" type="sibTrans" cxnId="{3DA30858-FF91-4742-A80D-1DD3A7D18B31}">
      <dgm:prSet/>
      <dgm:spPr/>
      <dgm:t>
        <a:bodyPr/>
        <a:lstStyle/>
        <a:p>
          <a:endParaRPr lang="en-US"/>
        </a:p>
      </dgm:t>
    </dgm:pt>
    <dgm:pt modelId="{91393E8C-B8BF-4037-A3BC-537B7A970196}">
      <dgm:prSet/>
      <dgm:spPr/>
      <dgm:t>
        <a:bodyPr/>
        <a:lstStyle/>
        <a:p>
          <a:r>
            <a:rPr lang="en-US" baseline="0"/>
            <a:t>Exchange Online</a:t>
          </a:r>
          <a:endParaRPr lang="en-US"/>
        </a:p>
      </dgm:t>
    </dgm:pt>
    <dgm:pt modelId="{8D517EF9-2E9E-437F-BBF1-CA8A9B7BE397}" type="parTrans" cxnId="{0249CE5E-A530-42B8-986D-92859C6B87A2}">
      <dgm:prSet/>
      <dgm:spPr/>
      <dgm:t>
        <a:bodyPr/>
        <a:lstStyle/>
        <a:p>
          <a:endParaRPr lang="en-US"/>
        </a:p>
      </dgm:t>
    </dgm:pt>
    <dgm:pt modelId="{7DA9B509-744F-4076-81C4-A91BD66181C7}" type="sibTrans" cxnId="{0249CE5E-A530-42B8-986D-92859C6B87A2}">
      <dgm:prSet/>
      <dgm:spPr/>
      <dgm:t>
        <a:bodyPr/>
        <a:lstStyle/>
        <a:p>
          <a:endParaRPr lang="en-US"/>
        </a:p>
      </dgm:t>
    </dgm:pt>
    <dgm:pt modelId="{777C8BDB-3DD6-4F0C-BABC-AA9D5CB28579}">
      <dgm:prSet/>
      <dgm:spPr/>
      <dgm:t>
        <a:bodyPr/>
        <a:lstStyle/>
        <a:p>
          <a:r>
            <a:rPr lang="en-US" baseline="0"/>
            <a:t>100 GB Mailbox, with Outlook and Outlook on the Web</a:t>
          </a:r>
          <a:endParaRPr lang="en-US"/>
        </a:p>
      </dgm:t>
    </dgm:pt>
    <dgm:pt modelId="{33F174BB-DADB-4E27-BA16-5B3BBD72D299}" type="parTrans" cxnId="{5A61F1D6-2BE1-4D3E-9E69-ADB61BD9D972}">
      <dgm:prSet/>
      <dgm:spPr/>
      <dgm:t>
        <a:bodyPr/>
        <a:lstStyle/>
        <a:p>
          <a:endParaRPr lang="en-US"/>
        </a:p>
      </dgm:t>
    </dgm:pt>
    <dgm:pt modelId="{4FF85F6D-BB9F-4265-BC52-647EA817C993}" type="sibTrans" cxnId="{5A61F1D6-2BE1-4D3E-9E69-ADB61BD9D972}">
      <dgm:prSet/>
      <dgm:spPr/>
      <dgm:t>
        <a:bodyPr/>
        <a:lstStyle/>
        <a:p>
          <a:endParaRPr lang="en-US"/>
        </a:p>
      </dgm:t>
    </dgm:pt>
    <dgm:pt modelId="{6EC0EA4A-50C0-4EC3-A4BE-EF58B26F09E4}">
      <dgm:prSet/>
      <dgm:spPr/>
      <dgm:t>
        <a:bodyPr/>
        <a:lstStyle/>
        <a:p>
          <a:r>
            <a:rPr lang="en-US" baseline="0"/>
            <a:t>Premium antivirus/antispam (Exchange Online Protection) and archiving with compliance capabilities</a:t>
          </a:r>
          <a:endParaRPr lang="en-US"/>
        </a:p>
      </dgm:t>
    </dgm:pt>
    <dgm:pt modelId="{09D5D5FB-C7A6-4DBA-8291-E3408A4E8895}" type="parTrans" cxnId="{4B01DF30-DE37-4496-8FD2-17F5B85A58DD}">
      <dgm:prSet/>
      <dgm:spPr/>
      <dgm:t>
        <a:bodyPr/>
        <a:lstStyle/>
        <a:p>
          <a:endParaRPr lang="en-US"/>
        </a:p>
      </dgm:t>
    </dgm:pt>
    <dgm:pt modelId="{778CF6B7-0929-4ADE-9AE3-F26759CD9776}" type="sibTrans" cxnId="{4B01DF30-DE37-4496-8FD2-17F5B85A58DD}">
      <dgm:prSet/>
      <dgm:spPr/>
      <dgm:t>
        <a:bodyPr/>
        <a:lstStyle/>
        <a:p>
          <a:endParaRPr lang="en-US"/>
        </a:p>
      </dgm:t>
    </dgm:pt>
    <dgm:pt modelId="{D7B229D9-87A2-412D-9563-BCA1484C2940}">
      <dgm:prSet/>
      <dgm:spPr/>
      <dgm:t>
        <a:bodyPr/>
        <a:lstStyle/>
        <a:p>
          <a:r>
            <a:rPr lang="en-US" baseline="0"/>
            <a:t>Mobile email (BlackBerry, iPhone, Android, and Windows Phone)</a:t>
          </a:r>
          <a:endParaRPr lang="en-US"/>
        </a:p>
      </dgm:t>
    </dgm:pt>
    <dgm:pt modelId="{F7DD97F3-6D6C-42E4-BC9D-C2351057CC0E}" type="parTrans" cxnId="{557B6A49-3529-479E-95B6-3D7A2CA0C7EB}">
      <dgm:prSet/>
      <dgm:spPr/>
      <dgm:t>
        <a:bodyPr/>
        <a:lstStyle/>
        <a:p>
          <a:endParaRPr lang="en-US"/>
        </a:p>
      </dgm:t>
    </dgm:pt>
    <dgm:pt modelId="{44B40BE8-2B97-4DD0-88A7-0F2F01FDAD4C}" type="sibTrans" cxnId="{557B6A49-3529-479E-95B6-3D7A2CA0C7EB}">
      <dgm:prSet/>
      <dgm:spPr/>
      <dgm:t>
        <a:bodyPr/>
        <a:lstStyle/>
        <a:p>
          <a:endParaRPr lang="en-US"/>
        </a:p>
      </dgm:t>
    </dgm:pt>
    <dgm:pt modelId="{895D3752-BB96-413C-A08B-A836A4A9DD7C}">
      <dgm:prSet/>
      <dgm:spPr/>
      <dgm:t>
        <a:bodyPr/>
        <a:lstStyle/>
        <a:p>
          <a:r>
            <a:rPr lang="en-US" baseline="0"/>
            <a:t>Microsoft Teams</a:t>
          </a:r>
          <a:endParaRPr lang="en-US"/>
        </a:p>
      </dgm:t>
    </dgm:pt>
    <dgm:pt modelId="{11C243FB-3B18-4CA5-A91F-40FE87A0D94D}" type="parTrans" cxnId="{2B6ECE10-07D6-4006-A8C4-E7F6766405DC}">
      <dgm:prSet/>
      <dgm:spPr/>
      <dgm:t>
        <a:bodyPr/>
        <a:lstStyle/>
        <a:p>
          <a:endParaRPr lang="en-US"/>
        </a:p>
      </dgm:t>
    </dgm:pt>
    <dgm:pt modelId="{8249E0CA-3A2E-47F2-B02C-4EE405BE00F8}" type="sibTrans" cxnId="{2B6ECE10-07D6-4006-A8C4-E7F6766405DC}">
      <dgm:prSet/>
      <dgm:spPr/>
      <dgm:t>
        <a:bodyPr/>
        <a:lstStyle/>
        <a:p>
          <a:endParaRPr lang="en-US"/>
        </a:p>
      </dgm:t>
    </dgm:pt>
    <dgm:pt modelId="{7ABF932F-8E2F-4241-AE06-F0D4BD550D08}">
      <dgm:prSet/>
      <dgm:spPr/>
      <dgm:t>
        <a:bodyPr/>
        <a:lstStyle/>
        <a:p>
          <a:r>
            <a:rPr lang="en-US" baseline="0"/>
            <a:t>Where chat, content, people, and tools live together, so your teams have instant access to everything they need</a:t>
          </a:r>
          <a:endParaRPr lang="en-US"/>
        </a:p>
      </dgm:t>
    </dgm:pt>
    <dgm:pt modelId="{4A0B7723-D78D-4236-B79B-A8FC2D970746}" type="parTrans" cxnId="{E8512EFA-8520-411F-8FF6-5219FB9377FC}">
      <dgm:prSet/>
      <dgm:spPr/>
      <dgm:t>
        <a:bodyPr/>
        <a:lstStyle/>
        <a:p>
          <a:endParaRPr lang="en-US"/>
        </a:p>
      </dgm:t>
    </dgm:pt>
    <dgm:pt modelId="{7C59B08D-AB9B-426C-800F-21D3327EC72C}" type="sibTrans" cxnId="{E8512EFA-8520-411F-8FF6-5219FB9377FC}">
      <dgm:prSet/>
      <dgm:spPr/>
      <dgm:t>
        <a:bodyPr/>
        <a:lstStyle/>
        <a:p>
          <a:endParaRPr lang="en-US"/>
        </a:p>
      </dgm:t>
    </dgm:pt>
    <dgm:pt modelId="{D6BD60ED-A95C-4169-82DD-015BCC39EAB0}">
      <dgm:prSet/>
      <dgm:spPr/>
      <dgm:t>
        <a:bodyPr/>
        <a:lstStyle/>
        <a:p>
          <a:r>
            <a:rPr lang="en-US" baseline="0"/>
            <a:t>Empower your workforce with Microsoft Teams to plan schedules, assign tasks and connect to other work-related apps and resources</a:t>
          </a:r>
          <a:endParaRPr lang="en-US"/>
        </a:p>
      </dgm:t>
    </dgm:pt>
    <dgm:pt modelId="{C8A51310-7513-427A-B348-68CFA9E7AEF5}" type="parTrans" cxnId="{95517F68-8052-4C78-BB51-B4F403B0BAE4}">
      <dgm:prSet/>
      <dgm:spPr/>
      <dgm:t>
        <a:bodyPr/>
        <a:lstStyle/>
        <a:p>
          <a:endParaRPr lang="en-US"/>
        </a:p>
      </dgm:t>
    </dgm:pt>
    <dgm:pt modelId="{6A54D61D-CEB1-4374-9F90-A26D92EEBD26}" type="sibTrans" cxnId="{95517F68-8052-4C78-BB51-B4F403B0BAE4}">
      <dgm:prSet/>
      <dgm:spPr/>
      <dgm:t>
        <a:bodyPr/>
        <a:lstStyle/>
        <a:p>
          <a:endParaRPr lang="en-US"/>
        </a:p>
      </dgm:t>
    </dgm:pt>
    <dgm:pt modelId="{C53A8B00-B4CE-4A58-83C0-CA625E0813CC}" type="pres">
      <dgm:prSet presAssocID="{57AE03D9-6B1A-4331-8240-2DC23593AADD}" presName="Name0" presStyleCnt="0">
        <dgm:presLayoutVars>
          <dgm:dir/>
          <dgm:animLvl val="lvl"/>
          <dgm:resizeHandles val="exact"/>
        </dgm:presLayoutVars>
      </dgm:prSet>
      <dgm:spPr/>
    </dgm:pt>
    <dgm:pt modelId="{5CC6D447-4EFF-4464-A470-E39BA0AD70D0}" type="pres">
      <dgm:prSet presAssocID="{9F17EF48-CA0E-4D9A-BF66-BB416DABB7B9}" presName="composite" presStyleCnt="0"/>
      <dgm:spPr/>
    </dgm:pt>
    <dgm:pt modelId="{AF5A15AF-01B5-43A0-89CF-223FC9AA3A84}" type="pres">
      <dgm:prSet presAssocID="{9F17EF48-CA0E-4D9A-BF66-BB416DABB7B9}" presName="parTx" presStyleLbl="alignNode1" presStyleIdx="0" presStyleCnt="4">
        <dgm:presLayoutVars>
          <dgm:chMax val="0"/>
          <dgm:chPref val="0"/>
          <dgm:bulletEnabled val="1"/>
        </dgm:presLayoutVars>
      </dgm:prSet>
      <dgm:spPr/>
    </dgm:pt>
    <dgm:pt modelId="{F3E0113B-EF24-4C2C-85ED-9DDE31728328}" type="pres">
      <dgm:prSet presAssocID="{9F17EF48-CA0E-4D9A-BF66-BB416DABB7B9}" presName="desTx" presStyleLbl="alignAccFollowNode1" presStyleIdx="0" presStyleCnt="4">
        <dgm:presLayoutVars>
          <dgm:bulletEnabled val="1"/>
        </dgm:presLayoutVars>
      </dgm:prSet>
      <dgm:spPr/>
    </dgm:pt>
    <dgm:pt modelId="{87E254C6-E7EF-4BCD-B5F7-77191073EE6A}" type="pres">
      <dgm:prSet presAssocID="{7C6C9157-A1EB-43D5-9C41-64F53C72573F}" presName="space" presStyleCnt="0"/>
      <dgm:spPr/>
    </dgm:pt>
    <dgm:pt modelId="{B2C33202-ACE9-4D0F-92F0-F45F59D2B906}" type="pres">
      <dgm:prSet presAssocID="{E87A6611-CA09-4CE8-A837-2F89B66A4CFF}" presName="composite" presStyleCnt="0"/>
      <dgm:spPr/>
    </dgm:pt>
    <dgm:pt modelId="{C2184013-2B63-46B5-950E-714BA5A7E50E}" type="pres">
      <dgm:prSet presAssocID="{E87A6611-CA09-4CE8-A837-2F89B66A4CFF}" presName="parTx" presStyleLbl="alignNode1" presStyleIdx="1" presStyleCnt="4">
        <dgm:presLayoutVars>
          <dgm:chMax val="0"/>
          <dgm:chPref val="0"/>
          <dgm:bulletEnabled val="1"/>
        </dgm:presLayoutVars>
      </dgm:prSet>
      <dgm:spPr/>
    </dgm:pt>
    <dgm:pt modelId="{D65FD92D-BE24-45D5-B6A0-BC5E32B76C2B}" type="pres">
      <dgm:prSet presAssocID="{E87A6611-CA09-4CE8-A837-2F89B66A4CFF}" presName="desTx" presStyleLbl="alignAccFollowNode1" presStyleIdx="1" presStyleCnt="4">
        <dgm:presLayoutVars>
          <dgm:bulletEnabled val="1"/>
        </dgm:presLayoutVars>
      </dgm:prSet>
      <dgm:spPr/>
    </dgm:pt>
    <dgm:pt modelId="{52721F70-582A-4A33-8F9C-8268B70360B0}" type="pres">
      <dgm:prSet presAssocID="{ED6B2665-883D-4C52-85CF-2A5C80A730C4}" presName="space" presStyleCnt="0"/>
      <dgm:spPr/>
    </dgm:pt>
    <dgm:pt modelId="{AE5F0104-500B-403A-A0F4-7FD68A0523DE}" type="pres">
      <dgm:prSet presAssocID="{91393E8C-B8BF-4037-A3BC-537B7A970196}" presName="composite" presStyleCnt="0"/>
      <dgm:spPr/>
    </dgm:pt>
    <dgm:pt modelId="{774E8594-3E8D-4E5F-8570-7656E9996427}" type="pres">
      <dgm:prSet presAssocID="{91393E8C-B8BF-4037-A3BC-537B7A970196}" presName="parTx" presStyleLbl="alignNode1" presStyleIdx="2" presStyleCnt="4">
        <dgm:presLayoutVars>
          <dgm:chMax val="0"/>
          <dgm:chPref val="0"/>
          <dgm:bulletEnabled val="1"/>
        </dgm:presLayoutVars>
      </dgm:prSet>
      <dgm:spPr/>
    </dgm:pt>
    <dgm:pt modelId="{FC2D515C-14D7-4172-AFAE-6E1BBC960219}" type="pres">
      <dgm:prSet presAssocID="{91393E8C-B8BF-4037-A3BC-537B7A970196}" presName="desTx" presStyleLbl="alignAccFollowNode1" presStyleIdx="2" presStyleCnt="4">
        <dgm:presLayoutVars>
          <dgm:bulletEnabled val="1"/>
        </dgm:presLayoutVars>
      </dgm:prSet>
      <dgm:spPr/>
    </dgm:pt>
    <dgm:pt modelId="{9AA3B5C5-D94E-4D19-94AB-95A434E03BBC}" type="pres">
      <dgm:prSet presAssocID="{7DA9B509-744F-4076-81C4-A91BD66181C7}" presName="space" presStyleCnt="0"/>
      <dgm:spPr/>
    </dgm:pt>
    <dgm:pt modelId="{063BB4E6-89C8-49F7-A609-823CFF981339}" type="pres">
      <dgm:prSet presAssocID="{895D3752-BB96-413C-A08B-A836A4A9DD7C}" presName="composite" presStyleCnt="0"/>
      <dgm:spPr/>
    </dgm:pt>
    <dgm:pt modelId="{E84B0FD1-9DEB-49AD-89B3-23DDC895F8B7}" type="pres">
      <dgm:prSet presAssocID="{895D3752-BB96-413C-A08B-A836A4A9DD7C}" presName="parTx" presStyleLbl="alignNode1" presStyleIdx="3" presStyleCnt="4">
        <dgm:presLayoutVars>
          <dgm:chMax val="0"/>
          <dgm:chPref val="0"/>
          <dgm:bulletEnabled val="1"/>
        </dgm:presLayoutVars>
      </dgm:prSet>
      <dgm:spPr/>
    </dgm:pt>
    <dgm:pt modelId="{08E9A45E-8988-4A2B-959F-374148D966AB}" type="pres">
      <dgm:prSet presAssocID="{895D3752-BB96-413C-A08B-A836A4A9DD7C}" presName="desTx" presStyleLbl="alignAccFollowNode1" presStyleIdx="3" presStyleCnt="4">
        <dgm:presLayoutVars>
          <dgm:bulletEnabled val="1"/>
        </dgm:presLayoutVars>
      </dgm:prSet>
      <dgm:spPr/>
    </dgm:pt>
  </dgm:ptLst>
  <dgm:cxnLst>
    <dgm:cxn modelId="{0BDA940F-FD2C-4800-8CEE-C22B0242EF01}" type="presOf" srcId="{895D3752-BB96-413C-A08B-A836A4A9DD7C}" destId="{E84B0FD1-9DEB-49AD-89B3-23DDC895F8B7}" srcOrd="0" destOrd="0" presId="urn:microsoft.com/office/officeart/2005/8/layout/hList1"/>
    <dgm:cxn modelId="{2B6ECE10-07D6-4006-A8C4-E7F6766405DC}" srcId="{57AE03D9-6B1A-4331-8240-2DC23593AADD}" destId="{895D3752-BB96-413C-A08B-A836A4A9DD7C}" srcOrd="3" destOrd="0" parTransId="{11C243FB-3B18-4CA5-A91F-40FE87A0D94D}" sibTransId="{8249E0CA-3A2E-47F2-B02C-4EE405BE00F8}"/>
    <dgm:cxn modelId="{25557312-9C01-446C-A4F5-A4DCAB2BBB49}" type="presOf" srcId="{57AE03D9-6B1A-4331-8240-2DC23593AADD}" destId="{C53A8B00-B4CE-4A58-83C0-CA625E0813CC}" srcOrd="0" destOrd="0" presId="urn:microsoft.com/office/officeart/2005/8/layout/hList1"/>
    <dgm:cxn modelId="{6F908814-F668-4F80-AC9B-6909874EDE48}" type="presOf" srcId="{E87A6611-CA09-4CE8-A837-2F89B66A4CFF}" destId="{C2184013-2B63-46B5-950E-714BA5A7E50E}" srcOrd="0" destOrd="0" presId="urn:microsoft.com/office/officeart/2005/8/layout/hList1"/>
    <dgm:cxn modelId="{3BF2E823-8380-4B25-BE01-D2CAABA5C501}" srcId="{57AE03D9-6B1A-4331-8240-2DC23593AADD}" destId="{E87A6611-CA09-4CE8-A837-2F89B66A4CFF}" srcOrd="1" destOrd="0" parTransId="{D1F44316-8DB9-4B51-B873-08FF88531FD6}" sibTransId="{ED6B2665-883D-4C52-85CF-2A5C80A730C4}"/>
    <dgm:cxn modelId="{FA576A26-57FA-4065-9958-F1E8BF6860F1}" type="presOf" srcId="{9F17EF48-CA0E-4D9A-BF66-BB416DABB7B9}" destId="{AF5A15AF-01B5-43A0-89CF-223FC9AA3A84}" srcOrd="0" destOrd="0" presId="urn:microsoft.com/office/officeart/2005/8/layout/hList1"/>
    <dgm:cxn modelId="{EEAC8C29-6A52-44C4-85A3-FA71B84DEA3B}" srcId="{9F17EF48-CA0E-4D9A-BF66-BB416DABB7B9}" destId="{1B98C83B-50DF-49DE-8208-2D0EA398B819}" srcOrd="0" destOrd="0" parTransId="{F1D861B4-235C-4696-A505-C5CF0DF5B3EC}" sibTransId="{0D18F5FF-EB37-45A6-91AA-249B8E66459E}"/>
    <dgm:cxn modelId="{4B01DF30-DE37-4496-8FD2-17F5B85A58DD}" srcId="{91393E8C-B8BF-4037-A3BC-537B7A970196}" destId="{6EC0EA4A-50C0-4EC3-A4BE-EF58B26F09E4}" srcOrd="1" destOrd="0" parTransId="{09D5D5FB-C7A6-4DBA-8291-E3408A4E8895}" sibTransId="{778CF6B7-0929-4ADE-9AE3-F26759CD9776}"/>
    <dgm:cxn modelId="{8A95A934-3ED4-44FB-B529-A5578F99C1E7}" type="presOf" srcId="{B1CC1E34-C80F-4453-B3E3-A63D9ABF2DCF}" destId="{D65FD92D-BE24-45D5-B6A0-BC5E32B76C2B}" srcOrd="0" destOrd="1" presId="urn:microsoft.com/office/officeart/2005/8/layout/hList1"/>
    <dgm:cxn modelId="{0249CE5E-A530-42B8-986D-92859C6B87A2}" srcId="{57AE03D9-6B1A-4331-8240-2DC23593AADD}" destId="{91393E8C-B8BF-4037-A3BC-537B7A970196}" srcOrd="2" destOrd="0" parTransId="{8D517EF9-2E9E-437F-BBF1-CA8A9B7BE397}" sibTransId="{7DA9B509-744F-4076-81C4-A91BD66181C7}"/>
    <dgm:cxn modelId="{95517F68-8052-4C78-BB51-B4F403B0BAE4}" srcId="{895D3752-BB96-413C-A08B-A836A4A9DD7C}" destId="{D6BD60ED-A95C-4169-82DD-015BCC39EAB0}" srcOrd="1" destOrd="0" parTransId="{C8A51310-7513-427A-B348-68CFA9E7AEF5}" sibTransId="{6A54D61D-CEB1-4374-9F90-A26D92EEBD26}"/>
    <dgm:cxn modelId="{557B6A49-3529-479E-95B6-3D7A2CA0C7EB}" srcId="{91393E8C-B8BF-4037-A3BC-537B7A970196}" destId="{D7B229D9-87A2-412D-9563-BCA1484C2940}" srcOrd="2" destOrd="0" parTransId="{F7DD97F3-6D6C-42E4-BC9D-C2351057CC0E}" sibTransId="{44B40BE8-2B97-4DD0-88A7-0F2F01FDAD4C}"/>
    <dgm:cxn modelId="{F7631E73-E6F6-412F-9840-DC4E8759AB79}" type="presOf" srcId="{F1EE4021-4753-4904-A5C1-E8F0C215D077}" destId="{D65FD92D-BE24-45D5-B6A0-BC5E32B76C2B}" srcOrd="0" destOrd="2" presId="urn:microsoft.com/office/officeart/2005/8/layout/hList1"/>
    <dgm:cxn modelId="{660C9D73-76DD-4DCC-B319-25BEF1710D5F}" srcId="{9F17EF48-CA0E-4D9A-BF66-BB416DABB7B9}" destId="{E46E52AB-E4B8-4F8C-A2ED-51FF4A21155D}" srcOrd="1" destOrd="0" parTransId="{9A09FA3A-4CAB-40F2-A02F-A4FC39858660}" sibTransId="{33B981CE-A826-47F5-9C8A-2C692AA0D073}"/>
    <dgm:cxn modelId="{3DA30858-FF91-4742-A80D-1DD3A7D18B31}" srcId="{E87A6611-CA09-4CE8-A837-2F89B66A4CFF}" destId="{F1EE4021-4753-4904-A5C1-E8F0C215D077}" srcOrd="2" destOrd="0" parTransId="{00F78273-CC42-48C0-9E1E-BA3295D07F43}" sibTransId="{3A0D0494-BFDF-4E97-8DF5-19E1A771D8A7}"/>
    <dgm:cxn modelId="{E99CB278-7FAA-4D7B-9EFC-ED3F866841FA}" type="presOf" srcId="{6EC0EA4A-50C0-4EC3-A4BE-EF58B26F09E4}" destId="{FC2D515C-14D7-4172-AFAE-6E1BBC960219}" srcOrd="0" destOrd="1" presId="urn:microsoft.com/office/officeart/2005/8/layout/hList1"/>
    <dgm:cxn modelId="{F5CC3683-4052-406C-A419-8D08879040A6}" type="presOf" srcId="{91393E8C-B8BF-4037-A3BC-537B7A970196}" destId="{774E8594-3E8D-4E5F-8570-7656E9996427}" srcOrd="0" destOrd="0" presId="urn:microsoft.com/office/officeart/2005/8/layout/hList1"/>
    <dgm:cxn modelId="{2BC84589-D8CC-423F-9813-24E2FB6BA861}" type="presOf" srcId="{777C8BDB-3DD6-4F0C-BABC-AA9D5CB28579}" destId="{FC2D515C-14D7-4172-AFAE-6E1BBC960219}" srcOrd="0" destOrd="0" presId="urn:microsoft.com/office/officeart/2005/8/layout/hList1"/>
    <dgm:cxn modelId="{27A59689-6601-40C0-B6C1-CC28CDD5A61D}" srcId="{E87A6611-CA09-4CE8-A837-2F89B66A4CFF}" destId="{B1CC1E34-C80F-4453-B3E3-A63D9ABF2DCF}" srcOrd="1" destOrd="0" parTransId="{3DA8B1BA-AB03-4885-B7E0-96670F9392B7}" sibTransId="{7248443C-65D2-484A-B06A-082210F02366}"/>
    <dgm:cxn modelId="{4EB9A290-5EAE-4917-B59E-11B74DB8B554}" srcId="{9F17EF48-CA0E-4D9A-BF66-BB416DABB7B9}" destId="{22D035B7-0A68-4E82-BA58-978F8EF7E1FE}" srcOrd="2" destOrd="0" parTransId="{DF51B3CD-F283-4E07-B9A5-230AE9BF6590}" sibTransId="{B00DA8F0-8D3A-40FB-B7F2-438773A16CA8}"/>
    <dgm:cxn modelId="{82C6B396-A31E-456C-9094-34D28066EC33}" type="presOf" srcId="{E46E52AB-E4B8-4F8C-A2ED-51FF4A21155D}" destId="{F3E0113B-EF24-4C2C-85ED-9DDE31728328}" srcOrd="0" destOrd="1" presId="urn:microsoft.com/office/officeart/2005/8/layout/hList1"/>
    <dgm:cxn modelId="{BF263B9A-7786-41DA-A102-6E9EF501E6DA}" srcId="{57AE03D9-6B1A-4331-8240-2DC23593AADD}" destId="{9F17EF48-CA0E-4D9A-BF66-BB416DABB7B9}" srcOrd="0" destOrd="0" parTransId="{94549E4E-B7D5-448A-B213-EA7DE21D3B26}" sibTransId="{7C6C9157-A1EB-43D5-9C41-64F53C72573F}"/>
    <dgm:cxn modelId="{72D648B7-8909-46CF-934C-80548CBBD0E1}" srcId="{E87A6611-CA09-4CE8-A837-2F89B66A4CFF}" destId="{C2A26DA7-7CB4-4E4E-8C9F-A82BFCD85C79}" srcOrd="0" destOrd="0" parTransId="{BD9C6DE6-B11E-4DFA-869A-193014EA8CCD}" sibTransId="{F66A4A12-572E-4FAB-8E35-6264E105A3AB}"/>
    <dgm:cxn modelId="{6A02E1CC-2517-4A66-9C6C-76729F299E1F}" type="presOf" srcId="{C2A26DA7-7CB4-4E4E-8C9F-A82BFCD85C79}" destId="{D65FD92D-BE24-45D5-B6A0-BC5E32B76C2B}" srcOrd="0" destOrd="0" presId="urn:microsoft.com/office/officeart/2005/8/layout/hList1"/>
    <dgm:cxn modelId="{684936D4-6533-40D6-83CD-C56879C80F2B}" type="presOf" srcId="{1B98C83B-50DF-49DE-8208-2D0EA398B819}" destId="{F3E0113B-EF24-4C2C-85ED-9DDE31728328}" srcOrd="0" destOrd="0" presId="urn:microsoft.com/office/officeart/2005/8/layout/hList1"/>
    <dgm:cxn modelId="{5A61F1D6-2BE1-4D3E-9E69-ADB61BD9D972}" srcId="{91393E8C-B8BF-4037-A3BC-537B7A970196}" destId="{777C8BDB-3DD6-4F0C-BABC-AA9D5CB28579}" srcOrd="0" destOrd="0" parTransId="{33F174BB-DADB-4E27-BA16-5B3BBD72D299}" sibTransId="{4FF85F6D-BB9F-4265-BC52-647EA817C993}"/>
    <dgm:cxn modelId="{1AC6B9D7-1FBA-4041-AE7F-808211866C9E}" type="presOf" srcId="{22D035B7-0A68-4E82-BA58-978F8EF7E1FE}" destId="{F3E0113B-EF24-4C2C-85ED-9DDE31728328}" srcOrd="0" destOrd="2" presId="urn:microsoft.com/office/officeart/2005/8/layout/hList1"/>
    <dgm:cxn modelId="{4AABC0DA-F783-423B-9327-8493488347B6}" type="presOf" srcId="{7ABF932F-8E2F-4241-AE06-F0D4BD550D08}" destId="{08E9A45E-8988-4A2B-959F-374148D966AB}" srcOrd="0" destOrd="0" presId="urn:microsoft.com/office/officeart/2005/8/layout/hList1"/>
    <dgm:cxn modelId="{639257DF-30A9-48E3-898A-9E08E7B2D6D1}" type="presOf" srcId="{D7B229D9-87A2-412D-9563-BCA1484C2940}" destId="{FC2D515C-14D7-4172-AFAE-6E1BBC960219}" srcOrd="0" destOrd="2" presId="urn:microsoft.com/office/officeart/2005/8/layout/hList1"/>
    <dgm:cxn modelId="{031982E4-E6F3-484B-B0BF-4586BCDC59E9}" type="presOf" srcId="{D6BD60ED-A95C-4169-82DD-015BCC39EAB0}" destId="{08E9A45E-8988-4A2B-959F-374148D966AB}" srcOrd="0" destOrd="1" presId="urn:microsoft.com/office/officeart/2005/8/layout/hList1"/>
    <dgm:cxn modelId="{E8512EFA-8520-411F-8FF6-5219FB9377FC}" srcId="{895D3752-BB96-413C-A08B-A836A4A9DD7C}" destId="{7ABF932F-8E2F-4241-AE06-F0D4BD550D08}" srcOrd="0" destOrd="0" parTransId="{4A0B7723-D78D-4236-B79B-A8FC2D970746}" sibTransId="{7C59B08D-AB9B-426C-800F-21D3327EC72C}"/>
    <dgm:cxn modelId="{F7767DE7-C471-48F9-9345-E71A5298BD20}" type="presParOf" srcId="{C53A8B00-B4CE-4A58-83C0-CA625E0813CC}" destId="{5CC6D447-4EFF-4464-A470-E39BA0AD70D0}" srcOrd="0" destOrd="0" presId="urn:microsoft.com/office/officeart/2005/8/layout/hList1"/>
    <dgm:cxn modelId="{6287D6C8-870C-4DB3-8FEC-B97755FBFCF9}" type="presParOf" srcId="{5CC6D447-4EFF-4464-A470-E39BA0AD70D0}" destId="{AF5A15AF-01B5-43A0-89CF-223FC9AA3A84}" srcOrd="0" destOrd="0" presId="urn:microsoft.com/office/officeart/2005/8/layout/hList1"/>
    <dgm:cxn modelId="{65FE7B5E-E114-401A-A019-E5CA09CEBAE3}" type="presParOf" srcId="{5CC6D447-4EFF-4464-A470-E39BA0AD70D0}" destId="{F3E0113B-EF24-4C2C-85ED-9DDE31728328}" srcOrd="1" destOrd="0" presId="urn:microsoft.com/office/officeart/2005/8/layout/hList1"/>
    <dgm:cxn modelId="{4F8FDBC5-7CA9-4EEA-8C10-F8914EDE73B5}" type="presParOf" srcId="{C53A8B00-B4CE-4A58-83C0-CA625E0813CC}" destId="{87E254C6-E7EF-4BCD-B5F7-77191073EE6A}" srcOrd="1" destOrd="0" presId="urn:microsoft.com/office/officeart/2005/8/layout/hList1"/>
    <dgm:cxn modelId="{0D324113-4098-4713-8022-A83675C1A01F}" type="presParOf" srcId="{C53A8B00-B4CE-4A58-83C0-CA625E0813CC}" destId="{B2C33202-ACE9-4D0F-92F0-F45F59D2B906}" srcOrd="2" destOrd="0" presId="urn:microsoft.com/office/officeart/2005/8/layout/hList1"/>
    <dgm:cxn modelId="{3D496DBB-B0E7-4886-8225-D200897BAF05}" type="presParOf" srcId="{B2C33202-ACE9-4D0F-92F0-F45F59D2B906}" destId="{C2184013-2B63-46B5-950E-714BA5A7E50E}" srcOrd="0" destOrd="0" presId="urn:microsoft.com/office/officeart/2005/8/layout/hList1"/>
    <dgm:cxn modelId="{EDFDC570-2552-48EC-8406-D0DBF458EC3D}" type="presParOf" srcId="{B2C33202-ACE9-4D0F-92F0-F45F59D2B906}" destId="{D65FD92D-BE24-45D5-B6A0-BC5E32B76C2B}" srcOrd="1" destOrd="0" presId="urn:microsoft.com/office/officeart/2005/8/layout/hList1"/>
    <dgm:cxn modelId="{050E18A7-3A99-47C4-82EC-C7C477A1F2B3}" type="presParOf" srcId="{C53A8B00-B4CE-4A58-83C0-CA625E0813CC}" destId="{52721F70-582A-4A33-8F9C-8268B70360B0}" srcOrd="3" destOrd="0" presId="urn:microsoft.com/office/officeart/2005/8/layout/hList1"/>
    <dgm:cxn modelId="{200745E7-406F-403D-8B78-3F41BD8F5A0C}" type="presParOf" srcId="{C53A8B00-B4CE-4A58-83C0-CA625E0813CC}" destId="{AE5F0104-500B-403A-A0F4-7FD68A0523DE}" srcOrd="4" destOrd="0" presId="urn:microsoft.com/office/officeart/2005/8/layout/hList1"/>
    <dgm:cxn modelId="{9F01C66E-EB9D-42A5-A62E-E6FA84ED0E98}" type="presParOf" srcId="{AE5F0104-500B-403A-A0F4-7FD68A0523DE}" destId="{774E8594-3E8D-4E5F-8570-7656E9996427}" srcOrd="0" destOrd="0" presId="urn:microsoft.com/office/officeart/2005/8/layout/hList1"/>
    <dgm:cxn modelId="{4DB7A90A-D723-482E-9617-8E0ACB930644}" type="presParOf" srcId="{AE5F0104-500B-403A-A0F4-7FD68A0523DE}" destId="{FC2D515C-14D7-4172-AFAE-6E1BBC960219}" srcOrd="1" destOrd="0" presId="urn:microsoft.com/office/officeart/2005/8/layout/hList1"/>
    <dgm:cxn modelId="{BEB416F7-61AA-484A-8483-4ECDA7622F9C}" type="presParOf" srcId="{C53A8B00-B4CE-4A58-83C0-CA625E0813CC}" destId="{9AA3B5C5-D94E-4D19-94AB-95A434E03BBC}" srcOrd="5" destOrd="0" presId="urn:microsoft.com/office/officeart/2005/8/layout/hList1"/>
    <dgm:cxn modelId="{147AC8BA-2CBD-4393-83AE-E2D060F04DA5}" type="presParOf" srcId="{C53A8B00-B4CE-4A58-83C0-CA625E0813CC}" destId="{063BB4E6-89C8-49F7-A609-823CFF981339}" srcOrd="6" destOrd="0" presId="urn:microsoft.com/office/officeart/2005/8/layout/hList1"/>
    <dgm:cxn modelId="{CFE32F86-7B69-4754-BDFB-39C00CBE3E46}" type="presParOf" srcId="{063BB4E6-89C8-49F7-A609-823CFF981339}" destId="{E84B0FD1-9DEB-49AD-89B3-23DDC895F8B7}" srcOrd="0" destOrd="0" presId="urn:microsoft.com/office/officeart/2005/8/layout/hList1"/>
    <dgm:cxn modelId="{3B1979E7-58B7-4222-9EE9-C5180D86B9F0}" type="presParOf" srcId="{063BB4E6-89C8-49F7-A609-823CFF981339}" destId="{08E9A45E-8988-4A2B-959F-374148D966A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FECF9C9-7A6A-46F7-A268-5DE36C1216DD}"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D7A66563-837F-42D5-B761-1B6A80E4B21C}">
      <dgm:prSet phldrT="[Text]" custT="1"/>
      <dgm:spPr/>
      <dgm:t>
        <a:bodyPr/>
        <a:lstStyle/>
        <a:p>
          <a:r>
            <a:rPr lang="en-US" sz="2400" b="1" dirty="0">
              <a:latin typeface="+mj-lt"/>
            </a:rPr>
            <a:t>Microsoft 365 Business </a:t>
          </a:r>
          <a:endParaRPr lang="en-US" sz="2400" dirty="0">
            <a:latin typeface="+mj-lt"/>
          </a:endParaRPr>
        </a:p>
      </dgm:t>
    </dgm:pt>
    <dgm:pt modelId="{3BF82D06-226E-42E4-8F4A-ECAF9291F477}" type="parTrans" cxnId="{7CEC5AB8-D9A9-4B91-BBB3-6A68C6B85079}">
      <dgm:prSet/>
      <dgm:spPr/>
      <dgm:t>
        <a:bodyPr/>
        <a:lstStyle/>
        <a:p>
          <a:endParaRPr lang="en-US"/>
        </a:p>
      </dgm:t>
    </dgm:pt>
    <dgm:pt modelId="{4822D373-7B17-4675-8FC8-D57046B1B3E0}" type="sibTrans" cxnId="{7CEC5AB8-D9A9-4B91-BBB3-6A68C6B85079}">
      <dgm:prSet/>
      <dgm:spPr/>
      <dgm:t>
        <a:bodyPr/>
        <a:lstStyle/>
        <a:p>
          <a:endParaRPr lang="en-US"/>
        </a:p>
      </dgm:t>
    </dgm:pt>
    <dgm:pt modelId="{D60D9E20-814A-4E73-9EB2-43FBD1E86A51}">
      <dgm:prSet phldrT="[Text]" custT="1"/>
      <dgm:spPr/>
      <dgm:t>
        <a:bodyPr/>
        <a:lstStyle/>
        <a:p>
          <a:r>
            <a:rPr lang="en-US" sz="2400" b="1" dirty="0">
              <a:latin typeface="+mj-lt"/>
            </a:rPr>
            <a:t>Microsoft 365 Enterprise </a:t>
          </a:r>
          <a:endParaRPr lang="en-US" sz="2400" dirty="0">
            <a:latin typeface="+mj-lt"/>
          </a:endParaRPr>
        </a:p>
      </dgm:t>
    </dgm:pt>
    <dgm:pt modelId="{36F9B878-B333-4847-A931-5EDF568E86B4}" type="parTrans" cxnId="{2B136146-6AE3-4BF1-9582-6C186C4E59DF}">
      <dgm:prSet/>
      <dgm:spPr/>
      <dgm:t>
        <a:bodyPr/>
        <a:lstStyle/>
        <a:p>
          <a:endParaRPr lang="en-US"/>
        </a:p>
      </dgm:t>
    </dgm:pt>
    <dgm:pt modelId="{CD41C0F7-BC45-475F-B2A0-2E75DC60E4F7}" type="sibTrans" cxnId="{2B136146-6AE3-4BF1-9582-6C186C4E59DF}">
      <dgm:prSet/>
      <dgm:spPr/>
      <dgm:t>
        <a:bodyPr/>
        <a:lstStyle/>
        <a:p>
          <a:endParaRPr lang="en-US"/>
        </a:p>
      </dgm:t>
    </dgm:pt>
    <dgm:pt modelId="{4BF3096F-2499-4EB6-B601-CDF789B3C83A}">
      <dgm:prSet phldrT="[Text]" custT="1"/>
      <dgm:spPr/>
      <dgm:t>
        <a:bodyPr/>
        <a:lstStyle/>
        <a:p>
          <a:r>
            <a:rPr lang="en-US" sz="2400" b="1" dirty="0">
              <a:latin typeface="+mj-lt"/>
            </a:rPr>
            <a:t>Microsoft 365 Education </a:t>
          </a:r>
          <a:endParaRPr lang="en-US" sz="2400" dirty="0">
            <a:latin typeface="+mj-lt"/>
          </a:endParaRPr>
        </a:p>
      </dgm:t>
    </dgm:pt>
    <dgm:pt modelId="{73886CB1-E8FC-4A06-B798-6479750364C1}" type="parTrans" cxnId="{C29C100E-33D5-439D-B1AD-20A6224B611A}">
      <dgm:prSet/>
      <dgm:spPr/>
      <dgm:t>
        <a:bodyPr/>
        <a:lstStyle/>
        <a:p>
          <a:endParaRPr lang="en-US"/>
        </a:p>
      </dgm:t>
    </dgm:pt>
    <dgm:pt modelId="{1320BA4A-76E0-4E25-9DFB-F056E0C67C77}" type="sibTrans" cxnId="{C29C100E-33D5-439D-B1AD-20A6224B611A}">
      <dgm:prSet/>
      <dgm:spPr/>
      <dgm:t>
        <a:bodyPr/>
        <a:lstStyle/>
        <a:p>
          <a:endParaRPr lang="en-US"/>
        </a:p>
      </dgm:t>
    </dgm:pt>
    <dgm:pt modelId="{E4D8A0AA-E426-41AB-BEFE-9DDC704FD6E4}">
      <dgm:prSet phldrT="[Text]" custT="1"/>
      <dgm:spPr/>
      <dgm:t>
        <a:bodyPr/>
        <a:lstStyle/>
        <a:p>
          <a:r>
            <a:rPr lang="en-US" sz="2400" b="1" dirty="0">
              <a:latin typeface="+mj-lt"/>
            </a:rPr>
            <a:t>Microsoft 365 Government </a:t>
          </a:r>
          <a:endParaRPr lang="en-US" sz="2400" dirty="0">
            <a:latin typeface="+mj-lt"/>
          </a:endParaRPr>
        </a:p>
      </dgm:t>
    </dgm:pt>
    <dgm:pt modelId="{BDEAD282-7AF9-4AF4-90BE-3E7CBA36D375}" type="parTrans" cxnId="{822ACE42-13BC-4B1E-A6C2-ED831C32D592}">
      <dgm:prSet/>
      <dgm:spPr/>
      <dgm:t>
        <a:bodyPr/>
        <a:lstStyle/>
        <a:p>
          <a:endParaRPr lang="en-US"/>
        </a:p>
      </dgm:t>
    </dgm:pt>
    <dgm:pt modelId="{55AF962A-5180-4959-902B-31A7845ACE9F}" type="sibTrans" cxnId="{822ACE42-13BC-4B1E-A6C2-ED831C32D592}">
      <dgm:prSet/>
      <dgm:spPr/>
      <dgm:t>
        <a:bodyPr/>
        <a:lstStyle/>
        <a:p>
          <a:endParaRPr lang="en-US"/>
        </a:p>
      </dgm:t>
    </dgm:pt>
    <dgm:pt modelId="{2533FFAF-E164-430F-86A9-D8CA725B6178}" type="pres">
      <dgm:prSet presAssocID="{5FECF9C9-7A6A-46F7-A268-5DE36C1216DD}" presName="diagram" presStyleCnt="0">
        <dgm:presLayoutVars>
          <dgm:dir/>
          <dgm:resizeHandles val="exact"/>
        </dgm:presLayoutVars>
      </dgm:prSet>
      <dgm:spPr/>
    </dgm:pt>
    <dgm:pt modelId="{759BA3EA-E6BC-4AD7-AE78-E4DEEDB61C96}" type="pres">
      <dgm:prSet presAssocID="{D7A66563-837F-42D5-B761-1B6A80E4B21C}" presName="node" presStyleLbl="node1" presStyleIdx="0" presStyleCnt="4">
        <dgm:presLayoutVars>
          <dgm:bulletEnabled val="1"/>
        </dgm:presLayoutVars>
      </dgm:prSet>
      <dgm:spPr/>
    </dgm:pt>
    <dgm:pt modelId="{099DB61E-64D4-45E2-A01F-2F9E84055032}" type="pres">
      <dgm:prSet presAssocID="{4822D373-7B17-4675-8FC8-D57046B1B3E0}" presName="sibTrans" presStyleCnt="0"/>
      <dgm:spPr/>
    </dgm:pt>
    <dgm:pt modelId="{4D867058-4441-4147-879C-1EDFB507FE32}" type="pres">
      <dgm:prSet presAssocID="{D60D9E20-814A-4E73-9EB2-43FBD1E86A51}" presName="node" presStyleLbl="node1" presStyleIdx="1" presStyleCnt="4">
        <dgm:presLayoutVars>
          <dgm:bulletEnabled val="1"/>
        </dgm:presLayoutVars>
      </dgm:prSet>
      <dgm:spPr/>
    </dgm:pt>
    <dgm:pt modelId="{8CC6ECCD-A33D-45BB-9327-F19C640AE59A}" type="pres">
      <dgm:prSet presAssocID="{CD41C0F7-BC45-475F-B2A0-2E75DC60E4F7}" presName="sibTrans" presStyleCnt="0"/>
      <dgm:spPr/>
    </dgm:pt>
    <dgm:pt modelId="{08353579-437E-41F7-A47C-D355455732E5}" type="pres">
      <dgm:prSet presAssocID="{4BF3096F-2499-4EB6-B601-CDF789B3C83A}" presName="node" presStyleLbl="node1" presStyleIdx="2" presStyleCnt="4">
        <dgm:presLayoutVars>
          <dgm:bulletEnabled val="1"/>
        </dgm:presLayoutVars>
      </dgm:prSet>
      <dgm:spPr/>
    </dgm:pt>
    <dgm:pt modelId="{3D4EB874-C2C9-47FE-BD08-C53E318C11F9}" type="pres">
      <dgm:prSet presAssocID="{1320BA4A-76E0-4E25-9DFB-F056E0C67C77}" presName="sibTrans" presStyleCnt="0"/>
      <dgm:spPr/>
    </dgm:pt>
    <dgm:pt modelId="{0ED2883A-4C38-48F4-9E8D-7E633B219A5C}" type="pres">
      <dgm:prSet presAssocID="{E4D8A0AA-E426-41AB-BEFE-9DDC704FD6E4}" presName="node" presStyleLbl="node1" presStyleIdx="3" presStyleCnt="4">
        <dgm:presLayoutVars>
          <dgm:bulletEnabled val="1"/>
        </dgm:presLayoutVars>
      </dgm:prSet>
      <dgm:spPr/>
    </dgm:pt>
  </dgm:ptLst>
  <dgm:cxnLst>
    <dgm:cxn modelId="{C29C100E-33D5-439D-B1AD-20A6224B611A}" srcId="{5FECF9C9-7A6A-46F7-A268-5DE36C1216DD}" destId="{4BF3096F-2499-4EB6-B601-CDF789B3C83A}" srcOrd="2" destOrd="0" parTransId="{73886CB1-E8FC-4A06-B798-6479750364C1}" sibTransId="{1320BA4A-76E0-4E25-9DFB-F056E0C67C77}"/>
    <dgm:cxn modelId="{0EDB8528-FF21-4526-AF21-68DF076D99FA}" type="presOf" srcId="{D60D9E20-814A-4E73-9EB2-43FBD1E86A51}" destId="{4D867058-4441-4147-879C-1EDFB507FE32}" srcOrd="0" destOrd="0" presId="urn:microsoft.com/office/officeart/2005/8/layout/default"/>
    <dgm:cxn modelId="{822ACE42-13BC-4B1E-A6C2-ED831C32D592}" srcId="{5FECF9C9-7A6A-46F7-A268-5DE36C1216DD}" destId="{E4D8A0AA-E426-41AB-BEFE-9DDC704FD6E4}" srcOrd="3" destOrd="0" parTransId="{BDEAD282-7AF9-4AF4-90BE-3E7CBA36D375}" sibTransId="{55AF962A-5180-4959-902B-31A7845ACE9F}"/>
    <dgm:cxn modelId="{2B136146-6AE3-4BF1-9582-6C186C4E59DF}" srcId="{5FECF9C9-7A6A-46F7-A268-5DE36C1216DD}" destId="{D60D9E20-814A-4E73-9EB2-43FBD1E86A51}" srcOrd="1" destOrd="0" parTransId="{36F9B878-B333-4847-A931-5EDF568E86B4}" sibTransId="{CD41C0F7-BC45-475F-B2A0-2E75DC60E4F7}"/>
    <dgm:cxn modelId="{14FC556E-66A1-4007-A462-95EAD5F70946}" type="presOf" srcId="{D7A66563-837F-42D5-B761-1B6A80E4B21C}" destId="{759BA3EA-E6BC-4AD7-AE78-E4DEEDB61C96}" srcOrd="0" destOrd="0" presId="urn:microsoft.com/office/officeart/2005/8/layout/default"/>
    <dgm:cxn modelId="{EE8CC950-CDD1-41C0-B689-B9A565D1E1F0}" type="presOf" srcId="{E4D8A0AA-E426-41AB-BEFE-9DDC704FD6E4}" destId="{0ED2883A-4C38-48F4-9E8D-7E633B219A5C}" srcOrd="0" destOrd="0" presId="urn:microsoft.com/office/officeart/2005/8/layout/default"/>
    <dgm:cxn modelId="{0C1FDAA9-9AB5-47C6-A38C-4E5E43255C4B}" type="presOf" srcId="{4BF3096F-2499-4EB6-B601-CDF789B3C83A}" destId="{08353579-437E-41F7-A47C-D355455732E5}" srcOrd="0" destOrd="0" presId="urn:microsoft.com/office/officeart/2005/8/layout/default"/>
    <dgm:cxn modelId="{7CEC5AB8-D9A9-4B91-BBB3-6A68C6B85079}" srcId="{5FECF9C9-7A6A-46F7-A268-5DE36C1216DD}" destId="{D7A66563-837F-42D5-B761-1B6A80E4B21C}" srcOrd="0" destOrd="0" parTransId="{3BF82D06-226E-42E4-8F4A-ECAF9291F477}" sibTransId="{4822D373-7B17-4675-8FC8-D57046B1B3E0}"/>
    <dgm:cxn modelId="{DA25ECC1-1BD8-4DE3-88DE-3C4E67D2D4AB}" type="presOf" srcId="{5FECF9C9-7A6A-46F7-A268-5DE36C1216DD}" destId="{2533FFAF-E164-430F-86A9-D8CA725B6178}" srcOrd="0" destOrd="0" presId="urn:microsoft.com/office/officeart/2005/8/layout/default"/>
    <dgm:cxn modelId="{1D250B5C-3538-4E91-BA30-D45850A5F18D}" type="presParOf" srcId="{2533FFAF-E164-430F-86A9-D8CA725B6178}" destId="{759BA3EA-E6BC-4AD7-AE78-E4DEEDB61C96}" srcOrd="0" destOrd="0" presId="urn:microsoft.com/office/officeart/2005/8/layout/default"/>
    <dgm:cxn modelId="{395DF597-C51E-4108-B6D8-F3D45EBC7DA1}" type="presParOf" srcId="{2533FFAF-E164-430F-86A9-D8CA725B6178}" destId="{099DB61E-64D4-45E2-A01F-2F9E84055032}" srcOrd="1" destOrd="0" presId="urn:microsoft.com/office/officeart/2005/8/layout/default"/>
    <dgm:cxn modelId="{0E48BC32-D375-4C47-BCE1-A0F835CB90D3}" type="presParOf" srcId="{2533FFAF-E164-430F-86A9-D8CA725B6178}" destId="{4D867058-4441-4147-879C-1EDFB507FE32}" srcOrd="2" destOrd="0" presId="urn:microsoft.com/office/officeart/2005/8/layout/default"/>
    <dgm:cxn modelId="{C30AAAE6-6A89-4659-B311-8EC478ACFE7C}" type="presParOf" srcId="{2533FFAF-E164-430F-86A9-D8CA725B6178}" destId="{8CC6ECCD-A33D-45BB-9327-F19C640AE59A}" srcOrd="3" destOrd="0" presId="urn:microsoft.com/office/officeart/2005/8/layout/default"/>
    <dgm:cxn modelId="{A653B49B-A66C-4F25-B026-2B3F58AA0876}" type="presParOf" srcId="{2533FFAF-E164-430F-86A9-D8CA725B6178}" destId="{08353579-437E-41F7-A47C-D355455732E5}" srcOrd="4" destOrd="0" presId="urn:microsoft.com/office/officeart/2005/8/layout/default"/>
    <dgm:cxn modelId="{64FFA37A-2C4C-4C71-B634-6421984685A1}" type="presParOf" srcId="{2533FFAF-E164-430F-86A9-D8CA725B6178}" destId="{3D4EB874-C2C9-47FE-BD08-C53E318C11F9}" srcOrd="5" destOrd="0" presId="urn:microsoft.com/office/officeart/2005/8/layout/default"/>
    <dgm:cxn modelId="{52674774-CDB7-434E-99D8-4CBFCE5938F6}" type="presParOf" srcId="{2533FFAF-E164-430F-86A9-D8CA725B6178}" destId="{0ED2883A-4C38-48F4-9E8D-7E633B219A5C}"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953D0A2-8B05-4948-81AA-265CD1C9002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3E4A8116-3AEA-4F3E-9A2A-4FE3DA3EF896}">
      <dgm:prSet phldrT="[Text]" custT="1"/>
      <dgm:spPr/>
      <dgm:t>
        <a:bodyPr/>
        <a:lstStyle/>
        <a:p>
          <a:r>
            <a:rPr lang="en-US" sz="2000" dirty="0">
              <a:latin typeface="+mj-lt"/>
            </a:rPr>
            <a:t>Max 300 users</a:t>
          </a:r>
        </a:p>
      </dgm:t>
    </dgm:pt>
    <dgm:pt modelId="{12D926B9-CC79-4B13-9773-EFCAE9C78778}" type="parTrans" cxnId="{DD6E4875-4601-4EE3-82A9-942D71FD5B0A}">
      <dgm:prSet/>
      <dgm:spPr/>
      <dgm:t>
        <a:bodyPr/>
        <a:lstStyle/>
        <a:p>
          <a:endParaRPr lang="en-US"/>
        </a:p>
      </dgm:t>
    </dgm:pt>
    <dgm:pt modelId="{99ED8C07-E7A4-4B03-A2F0-49BC63DA56E6}" type="sibTrans" cxnId="{DD6E4875-4601-4EE3-82A9-942D71FD5B0A}">
      <dgm:prSet/>
      <dgm:spPr/>
      <dgm:t>
        <a:bodyPr/>
        <a:lstStyle/>
        <a:p>
          <a:endParaRPr lang="en-US"/>
        </a:p>
      </dgm:t>
    </dgm:pt>
    <dgm:pt modelId="{FEF7E63A-E350-4486-8067-02789FF01D6A}">
      <dgm:prSet phldrT="[Text]" custT="1"/>
      <dgm:spPr/>
      <dgm:t>
        <a:bodyPr/>
        <a:lstStyle/>
        <a:p>
          <a:r>
            <a:rPr lang="en-US" sz="2000" dirty="0">
              <a:latin typeface="+mj-lt"/>
            </a:rPr>
            <a:t>Unlimited users</a:t>
          </a:r>
        </a:p>
      </dgm:t>
    </dgm:pt>
    <dgm:pt modelId="{62DC9B91-0AFB-4DE8-871A-03BD8912C700}" type="parTrans" cxnId="{5AD0BD52-A583-40B6-975E-7BD8BE11C7C1}">
      <dgm:prSet/>
      <dgm:spPr/>
      <dgm:t>
        <a:bodyPr/>
        <a:lstStyle/>
        <a:p>
          <a:endParaRPr lang="en-US"/>
        </a:p>
      </dgm:t>
    </dgm:pt>
    <dgm:pt modelId="{EB1826E4-6DF7-40A6-99C3-1BFDF3C561E1}" type="sibTrans" cxnId="{5AD0BD52-A583-40B6-975E-7BD8BE11C7C1}">
      <dgm:prSet/>
      <dgm:spPr/>
      <dgm:t>
        <a:bodyPr/>
        <a:lstStyle/>
        <a:p>
          <a:endParaRPr lang="en-US"/>
        </a:p>
      </dgm:t>
    </dgm:pt>
    <dgm:pt modelId="{0F906BBF-DFE1-4610-AEB4-777A1324421A}">
      <dgm:prSet phldrT="[Text]" custT="1"/>
      <dgm:spPr/>
      <dgm:t>
        <a:bodyPr/>
        <a:lstStyle/>
        <a:p>
          <a:r>
            <a:rPr lang="en-US" sz="2000" dirty="0">
              <a:latin typeface="+mj-lt"/>
            </a:rPr>
            <a:t>Unlimited users</a:t>
          </a:r>
        </a:p>
      </dgm:t>
    </dgm:pt>
    <dgm:pt modelId="{2FFC531C-58DA-4B42-A2B1-9DEFA232F9D8}" type="parTrans" cxnId="{FE0FFEEB-A977-4C21-96E0-BA76FA32FD84}">
      <dgm:prSet/>
      <dgm:spPr/>
      <dgm:t>
        <a:bodyPr/>
        <a:lstStyle/>
        <a:p>
          <a:endParaRPr lang="en-US"/>
        </a:p>
      </dgm:t>
    </dgm:pt>
    <dgm:pt modelId="{C5C8F689-C7E5-4C1A-8689-5E0E4B64CED8}" type="sibTrans" cxnId="{FE0FFEEB-A977-4C21-96E0-BA76FA32FD84}">
      <dgm:prSet/>
      <dgm:spPr/>
      <dgm:t>
        <a:bodyPr/>
        <a:lstStyle/>
        <a:p>
          <a:endParaRPr lang="en-US"/>
        </a:p>
      </dgm:t>
    </dgm:pt>
    <dgm:pt modelId="{5F157F9D-47FB-4239-B51C-0A6C86C2B160}">
      <dgm:prSet phldrT="[Text]" custT="1"/>
      <dgm:spPr/>
      <dgm:t>
        <a:bodyPr/>
        <a:lstStyle/>
        <a:p>
          <a:r>
            <a:rPr lang="en-US" sz="2000" dirty="0">
              <a:latin typeface="+mj-lt"/>
            </a:rPr>
            <a:t>Unlimited users</a:t>
          </a:r>
        </a:p>
      </dgm:t>
    </dgm:pt>
    <dgm:pt modelId="{AD4A954F-0C9E-464B-8BB0-7DDA78973529}" type="parTrans" cxnId="{DD0DD745-249A-4B77-BF1B-BFFAF9F07305}">
      <dgm:prSet/>
      <dgm:spPr/>
      <dgm:t>
        <a:bodyPr/>
        <a:lstStyle/>
        <a:p>
          <a:endParaRPr lang="en-US"/>
        </a:p>
      </dgm:t>
    </dgm:pt>
    <dgm:pt modelId="{F15A992D-A83A-48CA-AD84-89371155EF61}" type="sibTrans" cxnId="{DD0DD745-249A-4B77-BF1B-BFFAF9F07305}">
      <dgm:prSet/>
      <dgm:spPr/>
      <dgm:t>
        <a:bodyPr/>
        <a:lstStyle/>
        <a:p>
          <a:endParaRPr lang="en-US"/>
        </a:p>
      </dgm:t>
    </dgm:pt>
    <dgm:pt modelId="{361C4AC1-6687-4A03-8D1E-E1871C0DCCDF}" type="pres">
      <dgm:prSet presAssocID="{1953D0A2-8B05-4948-81AA-265CD1C90028}" presName="diagram" presStyleCnt="0">
        <dgm:presLayoutVars>
          <dgm:dir/>
          <dgm:resizeHandles val="exact"/>
        </dgm:presLayoutVars>
      </dgm:prSet>
      <dgm:spPr/>
    </dgm:pt>
    <dgm:pt modelId="{0F12421A-38F7-4D99-A08E-34E52500E523}" type="pres">
      <dgm:prSet presAssocID="{3E4A8116-3AEA-4F3E-9A2A-4FE3DA3EF896}" presName="node" presStyleLbl="node1" presStyleIdx="0" presStyleCnt="4">
        <dgm:presLayoutVars>
          <dgm:bulletEnabled val="1"/>
        </dgm:presLayoutVars>
      </dgm:prSet>
      <dgm:spPr/>
    </dgm:pt>
    <dgm:pt modelId="{48038FD0-7F93-4628-AA7B-C08E06F580F8}" type="pres">
      <dgm:prSet presAssocID="{99ED8C07-E7A4-4B03-A2F0-49BC63DA56E6}" presName="sibTrans" presStyleCnt="0"/>
      <dgm:spPr/>
    </dgm:pt>
    <dgm:pt modelId="{DD353486-1584-458A-B935-E24E1809E148}" type="pres">
      <dgm:prSet presAssocID="{FEF7E63A-E350-4486-8067-02789FF01D6A}" presName="node" presStyleLbl="node1" presStyleIdx="1" presStyleCnt="4">
        <dgm:presLayoutVars>
          <dgm:bulletEnabled val="1"/>
        </dgm:presLayoutVars>
      </dgm:prSet>
      <dgm:spPr/>
    </dgm:pt>
    <dgm:pt modelId="{193C42CA-5E9C-4CC4-8A86-33CDB3A655DB}" type="pres">
      <dgm:prSet presAssocID="{EB1826E4-6DF7-40A6-99C3-1BFDF3C561E1}" presName="sibTrans" presStyleCnt="0"/>
      <dgm:spPr/>
    </dgm:pt>
    <dgm:pt modelId="{635AEDF3-EE41-48A9-8532-628E97676E8F}" type="pres">
      <dgm:prSet presAssocID="{0F906BBF-DFE1-4610-AEB4-777A1324421A}" presName="node" presStyleLbl="node1" presStyleIdx="2" presStyleCnt="4">
        <dgm:presLayoutVars>
          <dgm:bulletEnabled val="1"/>
        </dgm:presLayoutVars>
      </dgm:prSet>
      <dgm:spPr/>
    </dgm:pt>
    <dgm:pt modelId="{E3C54A3D-C2BC-481F-9DA1-7EE392D30E9D}" type="pres">
      <dgm:prSet presAssocID="{C5C8F689-C7E5-4C1A-8689-5E0E4B64CED8}" presName="sibTrans" presStyleCnt="0"/>
      <dgm:spPr/>
    </dgm:pt>
    <dgm:pt modelId="{76C5D64D-34F9-408B-9FBE-8D459D2446F1}" type="pres">
      <dgm:prSet presAssocID="{5F157F9D-47FB-4239-B51C-0A6C86C2B160}" presName="node" presStyleLbl="node1" presStyleIdx="3" presStyleCnt="4">
        <dgm:presLayoutVars>
          <dgm:bulletEnabled val="1"/>
        </dgm:presLayoutVars>
      </dgm:prSet>
      <dgm:spPr/>
    </dgm:pt>
  </dgm:ptLst>
  <dgm:cxnLst>
    <dgm:cxn modelId="{9E1CCE03-480B-4B85-AA24-CFF21703E185}" type="presOf" srcId="{3E4A8116-3AEA-4F3E-9A2A-4FE3DA3EF896}" destId="{0F12421A-38F7-4D99-A08E-34E52500E523}" srcOrd="0" destOrd="0" presId="urn:microsoft.com/office/officeart/2005/8/layout/default"/>
    <dgm:cxn modelId="{7C11B00F-C3D8-443E-9B87-9EA8DB285C92}" type="presOf" srcId="{5F157F9D-47FB-4239-B51C-0A6C86C2B160}" destId="{76C5D64D-34F9-408B-9FBE-8D459D2446F1}" srcOrd="0" destOrd="0" presId="urn:microsoft.com/office/officeart/2005/8/layout/default"/>
    <dgm:cxn modelId="{DD0DD745-249A-4B77-BF1B-BFFAF9F07305}" srcId="{1953D0A2-8B05-4948-81AA-265CD1C90028}" destId="{5F157F9D-47FB-4239-B51C-0A6C86C2B160}" srcOrd="3" destOrd="0" parTransId="{AD4A954F-0C9E-464B-8BB0-7DDA78973529}" sibTransId="{F15A992D-A83A-48CA-AD84-89371155EF61}"/>
    <dgm:cxn modelId="{5AD0BD52-A583-40B6-975E-7BD8BE11C7C1}" srcId="{1953D0A2-8B05-4948-81AA-265CD1C90028}" destId="{FEF7E63A-E350-4486-8067-02789FF01D6A}" srcOrd="1" destOrd="0" parTransId="{62DC9B91-0AFB-4DE8-871A-03BD8912C700}" sibTransId="{EB1826E4-6DF7-40A6-99C3-1BFDF3C561E1}"/>
    <dgm:cxn modelId="{DD6E4875-4601-4EE3-82A9-942D71FD5B0A}" srcId="{1953D0A2-8B05-4948-81AA-265CD1C90028}" destId="{3E4A8116-3AEA-4F3E-9A2A-4FE3DA3EF896}" srcOrd="0" destOrd="0" parTransId="{12D926B9-CC79-4B13-9773-EFCAE9C78778}" sibTransId="{99ED8C07-E7A4-4B03-A2F0-49BC63DA56E6}"/>
    <dgm:cxn modelId="{38B0E07F-7FD1-448C-9AFD-61A2D7DD28AE}" type="presOf" srcId="{0F906BBF-DFE1-4610-AEB4-777A1324421A}" destId="{635AEDF3-EE41-48A9-8532-628E97676E8F}" srcOrd="0" destOrd="0" presId="urn:microsoft.com/office/officeart/2005/8/layout/default"/>
    <dgm:cxn modelId="{60464682-298A-4845-ADDE-A2E09A2872A4}" type="presOf" srcId="{1953D0A2-8B05-4948-81AA-265CD1C90028}" destId="{361C4AC1-6687-4A03-8D1E-E1871C0DCCDF}" srcOrd="0" destOrd="0" presId="urn:microsoft.com/office/officeart/2005/8/layout/default"/>
    <dgm:cxn modelId="{C430C49F-B3A1-45DC-8475-AD2BD12CF1C1}" type="presOf" srcId="{FEF7E63A-E350-4486-8067-02789FF01D6A}" destId="{DD353486-1584-458A-B935-E24E1809E148}" srcOrd="0" destOrd="0" presId="urn:microsoft.com/office/officeart/2005/8/layout/default"/>
    <dgm:cxn modelId="{FE0FFEEB-A977-4C21-96E0-BA76FA32FD84}" srcId="{1953D0A2-8B05-4948-81AA-265CD1C90028}" destId="{0F906BBF-DFE1-4610-AEB4-777A1324421A}" srcOrd="2" destOrd="0" parTransId="{2FFC531C-58DA-4B42-A2B1-9DEFA232F9D8}" sibTransId="{C5C8F689-C7E5-4C1A-8689-5E0E4B64CED8}"/>
    <dgm:cxn modelId="{3D6AAF0B-32EF-4158-A61B-18A9AB554CF9}" type="presParOf" srcId="{361C4AC1-6687-4A03-8D1E-E1871C0DCCDF}" destId="{0F12421A-38F7-4D99-A08E-34E52500E523}" srcOrd="0" destOrd="0" presId="urn:microsoft.com/office/officeart/2005/8/layout/default"/>
    <dgm:cxn modelId="{0B088AD7-A0AE-4464-A402-E0D2F910F067}" type="presParOf" srcId="{361C4AC1-6687-4A03-8D1E-E1871C0DCCDF}" destId="{48038FD0-7F93-4628-AA7B-C08E06F580F8}" srcOrd="1" destOrd="0" presId="urn:microsoft.com/office/officeart/2005/8/layout/default"/>
    <dgm:cxn modelId="{668CD038-A7B5-490D-A258-0D1AC8EADF44}" type="presParOf" srcId="{361C4AC1-6687-4A03-8D1E-E1871C0DCCDF}" destId="{DD353486-1584-458A-B935-E24E1809E148}" srcOrd="2" destOrd="0" presId="urn:microsoft.com/office/officeart/2005/8/layout/default"/>
    <dgm:cxn modelId="{254253C3-A794-4ACC-88E6-E410C337FC69}" type="presParOf" srcId="{361C4AC1-6687-4A03-8D1E-E1871C0DCCDF}" destId="{193C42CA-5E9C-4CC4-8A86-33CDB3A655DB}" srcOrd="3" destOrd="0" presId="urn:microsoft.com/office/officeart/2005/8/layout/default"/>
    <dgm:cxn modelId="{36DF90B0-D1DF-4AAB-83B1-4BC4F7C94A64}" type="presParOf" srcId="{361C4AC1-6687-4A03-8D1E-E1871C0DCCDF}" destId="{635AEDF3-EE41-48A9-8532-628E97676E8F}" srcOrd="4" destOrd="0" presId="urn:microsoft.com/office/officeart/2005/8/layout/default"/>
    <dgm:cxn modelId="{0234A412-934B-4BA0-A60E-9E5EFEDDDE84}" type="presParOf" srcId="{361C4AC1-6687-4A03-8D1E-E1871C0DCCDF}" destId="{E3C54A3D-C2BC-481F-9DA1-7EE392D30E9D}" srcOrd="5" destOrd="0" presId="urn:microsoft.com/office/officeart/2005/8/layout/default"/>
    <dgm:cxn modelId="{64C7C5AA-6076-49AF-AD78-C19DA527D47B}" type="presParOf" srcId="{361C4AC1-6687-4A03-8D1E-E1871C0DCCDF}" destId="{76C5D64D-34F9-408B-9FBE-8D459D2446F1}" srcOrd="6"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7DCD549-2C89-4DBF-9EC7-74974A2AE8E7}" type="doc">
      <dgm:prSet loTypeId="urn:microsoft.com/office/officeart/2005/8/layout/default" loCatId="list" qsTypeId="urn:microsoft.com/office/officeart/2005/8/quickstyle/simple1" qsCatId="simple" csTypeId="urn:microsoft.com/office/officeart/2005/8/colors/accent2_2" csCatId="accent2"/>
      <dgm:spPr/>
      <dgm:t>
        <a:bodyPr/>
        <a:lstStyle/>
        <a:p>
          <a:endParaRPr lang="en-US"/>
        </a:p>
      </dgm:t>
    </dgm:pt>
    <dgm:pt modelId="{6438A6CD-AEC6-4E66-B97A-D960F6DDB361}">
      <dgm:prSet/>
      <dgm:spPr/>
      <dgm:t>
        <a:bodyPr/>
        <a:lstStyle/>
        <a:p>
          <a:pPr algn="ctr"/>
          <a:r>
            <a:rPr lang="en-AU" baseline="0" dirty="0"/>
            <a:t>24 hours a day, seven days a week telephone support</a:t>
          </a:r>
          <a:endParaRPr lang="nb-NO" dirty="0"/>
        </a:p>
      </dgm:t>
    </dgm:pt>
    <dgm:pt modelId="{7BD40673-86E8-4BDE-947A-4F6BFA434BD6}" type="parTrans" cxnId="{F84D3D02-0686-40D7-A6BE-46EAF192AC12}">
      <dgm:prSet/>
      <dgm:spPr/>
      <dgm:t>
        <a:bodyPr/>
        <a:lstStyle/>
        <a:p>
          <a:endParaRPr lang="en-US"/>
        </a:p>
      </dgm:t>
    </dgm:pt>
    <dgm:pt modelId="{A4B20676-BB0A-44CF-80F4-0C356FFAA524}" type="sibTrans" cxnId="{F84D3D02-0686-40D7-A6BE-46EAF192AC12}">
      <dgm:prSet/>
      <dgm:spPr/>
      <dgm:t>
        <a:bodyPr/>
        <a:lstStyle/>
        <a:p>
          <a:endParaRPr lang="en-US"/>
        </a:p>
      </dgm:t>
    </dgm:pt>
    <dgm:pt modelId="{6941AFF7-199F-4E9A-8872-035E9E140A5A}">
      <dgm:prSet/>
      <dgm:spPr/>
      <dgm:t>
        <a:bodyPr/>
        <a:lstStyle/>
        <a:p>
          <a:pPr algn="ctr"/>
          <a:r>
            <a:rPr lang="en-AU" baseline="0" dirty="0"/>
            <a:t>In-product service requests</a:t>
          </a:r>
          <a:endParaRPr lang="nb-NO" dirty="0"/>
        </a:p>
      </dgm:t>
    </dgm:pt>
    <dgm:pt modelId="{36A2523F-8A13-400A-AD1F-899CBBD693CE}" type="parTrans" cxnId="{5FFEC3CF-EF87-47E1-BBBD-CC0EE3845A1D}">
      <dgm:prSet/>
      <dgm:spPr/>
      <dgm:t>
        <a:bodyPr/>
        <a:lstStyle/>
        <a:p>
          <a:endParaRPr lang="en-US"/>
        </a:p>
      </dgm:t>
    </dgm:pt>
    <dgm:pt modelId="{BF744332-C244-4703-983C-245B7827373A}" type="sibTrans" cxnId="{5FFEC3CF-EF87-47E1-BBBD-CC0EE3845A1D}">
      <dgm:prSet/>
      <dgm:spPr/>
      <dgm:t>
        <a:bodyPr/>
        <a:lstStyle/>
        <a:p>
          <a:endParaRPr lang="en-US"/>
        </a:p>
      </dgm:t>
    </dgm:pt>
    <dgm:pt modelId="{2CEFE29B-5EE0-486A-81D4-83E4B31347F8}">
      <dgm:prSet/>
      <dgm:spPr/>
      <dgm:t>
        <a:bodyPr/>
        <a:lstStyle/>
        <a:p>
          <a:pPr algn="ctr"/>
          <a:r>
            <a:rPr lang="en-AU" baseline="0" dirty="0"/>
            <a:t>TechNet and Community help</a:t>
          </a:r>
          <a:endParaRPr lang="nb-NO" dirty="0"/>
        </a:p>
      </dgm:t>
    </dgm:pt>
    <dgm:pt modelId="{B8FBE24C-0844-410D-8C61-21AB154240DA}" type="parTrans" cxnId="{56CBAC0A-B957-4EDB-8D3B-D7854BE702B2}">
      <dgm:prSet/>
      <dgm:spPr/>
      <dgm:t>
        <a:bodyPr/>
        <a:lstStyle/>
        <a:p>
          <a:endParaRPr lang="en-US"/>
        </a:p>
      </dgm:t>
    </dgm:pt>
    <dgm:pt modelId="{E58DA2D1-FDF5-40E0-A62F-F2F9B1FB3A4B}" type="sibTrans" cxnId="{56CBAC0A-B957-4EDB-8D3B-D7854BE702B2}">
      <dgm:prSet/>
      <dgm:spPr/>
      <dgm:t>
        <a:bodyPr/>
        <a:lstStyle/>
        <a:p>
          <a:endParaRPr lang="en-US"/>
        </a:p>
      </dgm:t>
    </dgm:pt>
    <dgm:pt modelId="{E89E01FD-E0C6-4D24-86BD-7BF83B3CAE2B}" type="pres">
      <dgm:prSet presAssocID="{67DCD549-2C89-4DBF-9EC7-74974A2AE8E7}" presName="diagram" presStyleCnt="0">
        <dgm:presLayoutVars>
          <dgm:dir/>
          <dgm:resizeHandles val="exact"/>
        </dgm:presLayoutVars>
      </dgm:prSet>
      <dgm:spPr/>
    </dgm:pt>
    <dgm:pt modelId="{4E840707-9243-45D3-B512-4C2A5A52B0C3}" type="pres">
      <dgm:prSet presAssocID="{6438A6CD-AEC6-4E66-B97A-D960F6DDB361}" presName="node" presStyleLbl="node1" presStyleIdx="0" presStyleCnt="3">
        <dgm:presLayoutVars>
          <dgm:bulletEnabled val="1"/>
        </dgm:presLayoutVars>
      </dgm:prSet>
      <dgm:spPr/>
    </dgm:pt>
    <dgm:pt modelId="{6FE916C5-6CA3-4A56-99C4-CF353B578341}" type="pres">
      <dgm:prSet presAssocID="{A4B20676-BB0A-44CF-80F4-0C356FFAA524}" presName="sibTrans" presStyleCnt="0"/>
      <dgm:spPr/>
    </dgm:pt>
    <dgm:pt modelId="{046B443B-D932-49B1-84E4-52CBA4A57FEB}" type="pres">
      <dgm:prSet presAssocID="{6941AFF7-199F-4E9A-8872-035E9E140A5A}" presName="node" presStyleLbl="node1" presStyleIdx="1" presStyleCnt="3">
        <dgm:presLayoutVars>
          <dgm:bulletEnabled val="1"/>
        </dgm:presLayoutVars>
      </dgm:prSet>
      <dgm:spPr/>
    </dgm:pt>
    <dgm:pt modelId="{C7EAE53E-5539-4A22-B134-53A34ECFCF8D}" type="pres">
      <dgm:prSet presAssocID="{BF744332-C244-4703-983C-245B7827373A}" presName="sibTrans" presStyleCnt="0"/>
      <dgm:spPr/>
    </dgm:pt>
    <dgm:pt modelId="{549A77D5-47EB-4596-B077-7923F51FA6BA}" type="pres">
      <dgm:prSet presAssocID="{2CEFE29B-5EE0-486A-81D4-83E4B31347F8}" presName="node" presStyleLbl="node1" presStyleIdx="2" presStyleCnt="3">
        <dgm:presLayoutVars>
          <dgm:bulletEnabled val="1"/>
        </dgm:presLayoutVars>
      </dgm:prSet>
      <dgm:spPr/>
    </dgm:pt>
  </dgm:ptLst>
  <dgm:cxnLst>
    <dgm:cxn modelId="{F84D3D02-0686-40D7-A6BE-46EAF192AC12}" srcId="{67DCD549-2C89-4DBF-9EC7-74974A2AE8E7}" destId="{6438A6CD-AEC6-4E66-B97A-D960F6DDB361}" srcOrd="0" destOrd="0" parTransId="{7BD40673-86E8-4BDE-947A-4F6BFA434BD6}" sibTransId="{A4B20676-BB0A-44CF-80F4-0C356FFAA524}"/>
    <dgm:cxn modelId="{56CBAC0A-B957-4EDB-8D3B-D7854BE702B2}" srcId="{67DCD549-2C89-4DBF-9EC7-74974A2AE8E7}" destId="{2CEFE29B-5EE0-486A-81D4-83E4B31347F8}" srcOrd="2" destOrd="0" parTransId="{B8FBE24C-0844-410D-8C61-21AB154240DA}" sibTransId="{E58DA2D1-FDF5-40E0-A62F-F2F9B1FB3A4B}"/>
    <dgm:cxn modelId="{3BAF575D-AF7F-4778-96E9-9A045C9FC519}" type="presOf" srcId="{6941AFF7-199F-4E9A-8872-035E9E140A5A}" destId="{046B443B-D932-49B1-84E4-52CBA4A57FEB}" srcOrd="0" destOrd="0" presId="urn:microsoft.com/office/officeart/2005/8/layout/default"/>
    <dgm:cxn modelId="{78AB5679-1971-47B4-95B2-287ED7915909}" type="presOf" srcId="{6438A6CD-AEC6-4E66-B97A-D960F6DDB361}" destId="{4E840707-9243-45D3-B512-4C2A5A52B0C3}" srcOrd="0" destOrd="0" presId="urn:microsoft.com/office/officeart/2005/8/layout/default"/>
    <dgm:cxn modelId="{5FFEC3CF-EF87-47E1-BBBD-CC0EE3845A1D}" srcId="{67DCD549-2C89-4DBF-9EC7-74974A2AE8E7}" destId="{6941AFF7-199F-4E9A-8872-035E9E140A5A}" srcOrd="1" destOrd="0" parTransId="{36A2523F-8A13-400A-AD1F-899CBBD693CE}" sibTransId="{BF744332-C244-4703-983C-245B7827373A}"/>
    <dgm:cxn modelId="{22533AEB-6282-4A7D-9770-C12C4460480E}" type="presOf" srcId="{67DCD549-2C89-4DBF-9EC7-74974A2AE8E7}" destId="{E89E01FD-E0C6-4D24-86BD-7BF83B3CAE2B}" srcOrd="0" destOrd="0" presId="urn:microsoft.com/office/officeart/2005/8/layout/default"/>
    <dgm:cxn modelId="{1DD2A4FC-DB05-4C8B-8DCA-7451AA04BC40}" type="presOf" srcId="{2CEFE29B-5EE0-486A-81D4-83E4B31347F8}" destId="{549A77D5-47EB-4596-B077-7923F51FA6BA}" srcOrd="0" destOrd="0" presId="urn:microsoft.com/office/officeart/2005/8/layout/default"/>
    <dgm:cxn modelId="{2C3004D9-C15C-4B75-8F4B-2FF9EE6CDD92}" type="presParOf" srcId="{E89E01FD-E0C6-4D24-86BD-7BF83B3CAE2B}" destId="{4E840707-9243-45D3-B512-4C2A5A52B0C3}" srcOrd="0" destOrd="0" presId="urn:microsoft.com/office/officeart/2005/8/layout/default"/>
    <dgm:cxn modelId="{E084903C-9FCE-427C-A74F-AE5E8C25B0E1}" type="presParOf" srcId="{E89E01FD-E0C6-4D24-86BD-7BF83B3CAE2B}" destId="{6FE916C5-6CA3-4A56-99C4-CF353B578341}" srcOrd="1" destOrd="0" presId="urn:microsoft.com/office/officeart/2005/8/layout/default"/>
    <dgm:cxn modelId="{ABB8CCD4-EC38-4C0F-B9CD-741076E18B2D}" type="presParOf" srcId="{E89E01FD-E0C6-4D24-86BD-7BF83B3CAE2B}" destId="{046B443B-D932-49B1-84E4-52CBA4A57FEB}" srcOrd="2" destOrd="0" presId="urn:microsoft.com/office/officeart/2005/8/layout/default"/>
    <dgm:cxn modelId="{2B3F662E-1756-46F0-830A-6BCCE7CD135D}" type="presParOf" srcId="{E89E01FD-E0C6-4D24-86BD-7BF83B3CAE2B}" destId="{C7EAE53E-5539-4A22-B134-53A34ECFCF8D}" srcOrd="3" destOrd="0" presId="urn:microsoft.com/office/officeart/2005/8/layout/default"/>
    <dgm:cxn modelId="{08F3B451-29F6-45B1-BAE9-B5FFB7809914}" type="presParOf" srcId="{E89E01FD-E0C6-4D24-86BD-7BF83B3CAE2B}" destId="{549A77D5-47EB-4596-B077-7923F51FA6BA}"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7DCD549-2C89-4DBF-9EC7-74974A2AE8E7}"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6438A6CD-AEC6-4E66-B97A-D960F6DDB361}">
      <dgm:prSet/>
      <dgm:spPr/>
      <dgm:t>
        <a:bodyPr/>
        <a:lstStyle/>
        <a:p>
          <a:pPr algn="ctr"/>
          <a:r>
            <a:rPr lang="en-US" b="0" i="0" dirty="0"/>
            <a:t>Service health of Microsoft 365, Yammer, Microsoft Dynamics CRM, and Microsoft Intune cloud services</a:t>
          </a:r>
          <a:endParaRPr lang="nb-NO" dirty="0"/>
        </a:p>
      </dgm:t>
    </dgm:pt>
    <dgm:pt modelId="{7BD40673-86E8-4BDE-947A-4F6BFA434BD6}" type="parTrans" cxnId="{F84D3D02-0686-40D7-A6BE-46EAF192AC12}">
      <dgm:prSet/>
      <dgm:spPr/>
      <dgm:t>
        <a:bodyPr/>
        <a:lstStyle/>
        <a:p>
          <a:endParaRPr lang="en-US"/>
        </a:p>
      </dgm:t>
    </dgm:pt>
    <dgm:pt modelId="{A4B20676-BB0A-44CF-80F4-0C356FFAA524}" type="sibTrans" cxnId="{F84D3D02-0686-40D7-A6BE-46EAF192AC12}">
      <dgm:prSet/>
      <dgm:spPr/>
      <dgm:t>
        <a:bodyPr/>
        <a:lstStyle/>
        <a:p>
          <a:endParaRPr lang="en-US"/>
        </a:p>
      </dgm:t>
    </dgm:pt>
    <dgm:pt modelId="{6941AFF7-199F-4E9A-8872-035E9E140A5A}">
      <dgm:prSet/>
      <dgm:spPr/>
      <dgm:t>
        <a:bodyPr/>
        <a:lstStyle/>
        <a:p>
          <a:pPr algn="ctr"/>
          <a:r>
            <a:rPr lang="en-US" b="0" i="0" dirty="0"/>
            <a:t>People who are assigned the global admin or service administrator role can view service health</a:t>
          </a:r>
          <a:endParaRPr lang="nb-NO" dirty="0"/>
        </a:p>
      </dgm:t>
    </dgm:pt>
    <dgm:pt modelId="{36A2523F-8A13-400A-AD1F-899CBBD693CE}" type="parTrans" cxnId="{5FFEC3CF-EF87-47E1-BBBD-CC0EE3845A1D}">
      <dgm:prSet/>
      <dgm:spPr/>
      <dgm:t>
        <a:bodyPr/>
        <a:lstStyle/>
        <a:p>
          <a:endParaRPr lang="en-US"/>
        </a:p>
      </dgm:t>
    </dgm:pt>
    <dgm:pt modelId="{BF744332-C244-4703-983C-245B7827373A}" type="sibTrans" cxnId="{5FFEC3CF-EF87-47E1-BBBD-CC0EE3845A1D}">
      <dgm:prSet/>
      <dgm:spPr/>
      <dgm:t>
        <a:bodyPr/>
        <a:lstStyle/>
        <a:p>
          <a:endParaRPr lang="en-US"/>
        </a:p>
      </dgm:t>
    </dgm:pt>
    <dgm:pt modelId="{7FE5206B-AE3C-4957-BB52-F0F68BDC9D1C}">
      <dgm:prSet/>
      <dgm:spPr/>
      <dgm:t>
        <a:bodyPr/>
        <a:lstStyle/>
        <a:p>
          <a:pPr algn="ctr"/>
          <a:r>
            <a:rPr lang="en-US" b="0" i="0" dirty="0"/>
            <a:t>Check Service health for any known issues and resolution</a:t>
          </a:r>
          <a:endParaRPr lang="nb-NO" dirty="0"/>
        </a:p>
      </dgm:t>
    </dgm:pt>
    <dgm:pt modelId="{F64218C5-7383-4C54-84A9-A37710DC1FFF}" type="parTrans" cxnId="{6A390FEE-7113-4E4A-8611-CB7A05297900}">
      <dgm:prSet/>
      <dgm:spPr/>
      <dgm:t>
        <a:bodyPr/>
        <a:lstStyle/>
        <a:p>
          <a:endParaRPr lang="en-US"/>
        </a:p>
      </dgm:t>
    </dgm:pt>
    <dgm:pt modelId="{E39AF39B-4359-4001-B9F2-05B8D84A4492}" type="sibTrans" cxnId="{6A390FEE-7113-4E4A-8611-CB7A05297900}">
      <dgm:prSet/>
      <dgm:spPr/>
      <dgm:t>
        <a:bodyPr/>
        <a:lstStyle/>
        <a:p>
          <a:endParaRPr lang="en-US"/>
        </a:p>
      </dgm:t>
    </dgm:pt>
    <dgm:pt modelId="{AC566C6D-2B7B-44BE-AAE4-0C279BC24498}" type="pres">
      <dgm:prSet presAssocID="{67DCD549-2C89-4DBF-9EC7-74974A2AE8E7}" presName="diagram" presStyleCnt="0">
        <dgm:presLayoutVars>
          <dgm:dir/>
          <dgm:resizeHandles val="exact"/>
        </dgm:presLayoutVars>
      </dgm:prSet>
      <dgm:spPr/>
    </dgm:pt>
    <dgm:pt modelId="{002FCEC5-6BBC-4319-9A60-DDA09A0790E5}" type="pres">
      <dgm:prSet presAssocID="{6438A6CD-AEC6-4E66-B97A-D960F6DDB361}" presName="node" presStyleLbl="node1" presStyleIdx="0" presStyleCnt="3">
        <dgm:presLayoutVars>
          <dgm:bulletEnabled val="1"/>
        </dgm:presLayoutVars>
      </dgm:prSet>
      <dgm:spPr/>
    </dgm:pt>
    <dgm:pt modelId="{6111FC2E-28A0-47DE-A031-FF4EB072D90B}" type="pres">
      <dgm:prSet presAssocID="{A4B20676-BB0A-44CF-80F4-0C356FFAA524}" presName="sibTrans" presStyleCnt="0"/>
      <dgm:spPr/>
    </dgm:pt>
    <dgm:pt modelId="{C712DF43-2B7C-478B-A4EE-B6C5BA1CC729}" type="pres">
      <dgm:prSet presAssocID="{6941AFF7-199F-4E9A-8872-035E9E140A5A}" presName="node" presStyleLbl="node1" presStyleIdx="1" presStyleCnt="3">
        <dgm:presLayoutVars>
          <dgm:bulletEnabled val="1"/>
        </dgm:presLayoutVars>
      </dgm:prSet>
      <dgm:spPr/>
    </dgm:pt>
    <dgm:pt modelId="{1B499B92-9DBD-4FC1-B2E8-B181592A1BB0}" type="pres">
      <dgm:prSet presAssocID="{BF744332-C244-4703-983C-245B7827373A}" presName="sibTrans" presStyleCnt="0"/>
      <dgm:spPr/>
    </dgm:pt>
    <dgm:pt modelId="{9D76BF83-F0A2-45B2-9EE4-8C707569D2F8}" type="pres">
      <dgm:prSet presAssocID="{7FE5206B-AE3C-4957-BB52-F0F68BDC9D1C}" presName="node" presStyleLbl="node1" presStyleIdx="2" presStyleCnt="3">
        <dgm:presLayoutVars>
          <dgm:bulletEnabled val="1"/>
        </dgm:presLayoutVars>
      </dgm:prSet>
      <dgm:spPr/>
    </dgm:pt>
  </dgm:ptLst>
  <dgm:cxnLst>
    <dgm:cxn modelId="{F84D3D02-0686-40D7-A6BE-46EAF192AC12}" srcId="{67DCD549-2C89-4DBF-9EC7-74974A2AE8E7}" destId="{6438A6CD-AEC6-4E66-B97A-D960F6DDB361}" srcOrd="0" destOrd="0" parTransId="{7BD40673-86E8-4BDE-947A-4F6BFA434BD6}" sibTransId="{A4B20676-BB0A-44CF-80F4-0C356FFAA524}"/>
    <dgm:cxn modelId="{E0447B61-362E-463D-8F49-1876DED7EB5F}" type="presOf" srcId="{7FE5206B-AE3C-4957-BB52-F0F68BDC9D1C}" destId="{9D76BF83-F0A2-45B2-9EE4-8C707569D2F8}" srcOrd="0" destOrd="0" presId="urn:microsoft.com/office/officeart/2005/8/layout/default"/>
    <dgm:cxn modelId="{5C5361BD-9FEB-43EB-9D9A-1508E17CF468}" type="presOf" srcId="{6941AFF7-199F-4E9A-8872-035E9E140A5A}" destId="{C712DF43-2B7C-478B-A4EE-B6C5BA1CC729}" srcOrd="0" destOrd="0" presId="urn:microsoft.com/office/officeart/2005/8/layout/default"/>
    <dgm:cxn modelId="{5FFEC3CF-EF87-47E1-BBBD-CC0EE3845A1D}" srcId="{67DCD549-2C89-4DBF-9EC7-74974A2AE8E7}" destId="{6941AFF7-199F-4E9A-8872-035E9E140A5A}" srcOrd="1" destOrd="0" parTransId="{36A2523F-8A13-400A-AD1F-899CBBD693CE}" sibTransId="{BF744332-C244-4703-983C-245B7827373A}"/>
    <dgm:cxn modelId="{B53D05E9-CF0B-4548-8CC4-B1465ABB4657}" type="presOf" srcId="{67DCD549-2C89-4DBF-9EC7-74974A2AE8E7}" destId="{AC566C6D-2B7B-44BE-AAE4-0C279BC24498}" srcOrd="0" destOrd="0" presId="urn:microsoft.com/office/officeart/2005/8/layout/default"/>
    <dgm:cxn modelId="{6A390FEE-7113-4E4A-8611-CB7A05297900}" srcId="{67DCD549-2C89-4DBF-9EC7-74974A2AE8E7}" destId="{7FE5206B-AE3C-4957-BB52-F0F68BDC9D1C}" srcOrd="2" destOrd="0" parTransId="{F64218C5-7383-4C54-84A9-A37710DC1FFF}" sibTransId="{E39AF39B-4359-4001-B9F2-05B8D84A4492}"/>
    <dgm:cxn modelId="{75996BF8-2F3F-463B-8FF5-3B3045DC5BE5}" type="presOf" srcId="{6438A6CD-AEC6-4E66-B97A-D960F6DDB361}" destId="{002FCEC5-6BBC-4319-9A60-DDA09A0790E5}" srcOrd="0" destOrd="0" presId="urn:microsoft.com/office/officeart/2005/8/layout/default"/>
    <dgm:cxn modelId="{331E088D-D31F-4278-8005-C9D852E4DD94}" type="presParOf" srcId="{AC566C6D-2B7B-44BE-AAE4-0C279BC24498}" destId="{002FCEC5-6BBC-4319-9A60-DDA09A0790E5}" srcOrd="0" destOrd="0" presId="urn:microsoft.com/office/officeart/2005/8/layout/default"/>
    <dgm:cxn modelId="{B171FCB4-D437-4132-B24F-CD8954AFAD71}" type="presParOf" srcId="{AC566C6D-2B7B-44BE-AAE4-0C279BC24498}" destId="{6111FC2E-28A0-47DE-A031-FF4EB072D90B}" srcOrd="1" destOrd="0" presId="urn:microsoft.com/office/officeart/2005/8/layout/default"/>
    <dgm:cxn modelId="{A4CCFA37-E265-4B8D-B386-AF65D3D53FD1}" type="presParOf" srcId="{AC566C6D-2B7B-44BE-AAE4-0C279BC24498}" destId="{C712DF43-2B7C-478B-A4EE-B6C5BA1CC729}" srcOrd="2" destOrd="0" presId="urn:microsoft.com/office/officeart/2005/8/layout/default"/>
    <dgm:cxn modelId="{CD6B0CFF-251C-4B80-9C30-08DBAB3547F1}" type="presParOf" srcId="{AC566C6D-2B7B-44BE-AAE4-0C279BC24498}" destId="{1B499B92-9DBD-4FC1-B2E8-B181592A1BB0}" srcOrd="3" destOrd="0" presId="urn:microsoft.com/office/officeart/2005/8/layout/default"/>
    <dgm:cxn modelId="{CF758015-35D8-4821-90C8-F486DBDE8EFC}" type="presParOf" srcId="{AC566C6D-2B7B-44BE-AAE4-0C279BC24498}" destId="{9D76BF83-F0A2-45B2-9EE4-8C707569D2F8}"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91D49E8-AA67-4E7C-8D60-1B1032379744}"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38D31DE1-34AF-475C-B820-163A69E78B9D}">
      <dgm:prSet/>
      <dgm:spPr/>
      <dgm:t>
        <a:bodyPr/>
        <a:lstStyle/>
        <a:p>
          <a:r>
            <a:rPr lang="en-US" dirty="0"/>
            <a:t>Microsoft 365 Message Center is used to post upcoming feature releases or issues.</a:t>
          </a:r>
        </a:p>
      </dgm:t>
    </dgm:pt>
    <dgm:pt modelId="{A86798C4-2CF8-40BE-A77A-4AF70692D676}" type="parTrans" cxnId="{7077B6A7-C6CD-4DF2-B903-E99571C8872E}">
      <dgm:prSet/>
      <dgm:spPr/>
      <dgm:t>
        <a:bodyPr/>
        <a:lstStyle/>
        <a:p>
          <a:endParaRPr lang="en-US"/>
        </a:p>
      </dgm:t>
    </dgm:pt>
    <dgm:pt modelId="{95F07A9C-41EA-47BA-9D61-1E86440C0A5B}" type="sibTrans" cxnId="{7077B6A7-C6CD-4DF2-B903-E99571C8872E}">
      <dgm:prSet/>
      <dgm:spPr/>
      <dgm:t>
        <a:bodyPr/>
        <a:lstStyle/>
        <a:p>
          <a:endParaRPr lang="en-US"/>
        </a:p>
      </dgm:t>
    </dgm:pt>
    <dgm:pt modelId="{BF361857-D0EE-4458-9D62-9B2125A10FB3}">
      <dgm:prSet/>
      <dgm:spPr/>
      <dgm:t>
        <a:bodyPr/>
        <a:lstStyle/>
        <a:p>
          <a:r>
            <a:rPr lang="en-US"/>
            <a:t>Each post gives a high-level overview of a planned change and how it may affect users</a:t>
          </a:r>
        </a:p>
      </dgm:t>
    </dgm:pt>
    <dgm:pt modelId="{94C09D71-E8F9-41EB-B9F2-029C7BC1FCE4}" type="parTrans" cxnId="{B4754DA2-36C5-448B-BAE3-D9470CBC5BAC}">
      <dgm:prSet/>
      <dgm:spPr/>
      <dgm:t>
        <a:bodyPr/>
        <a:lstStyle/>
        <a:p>
          <a:endParaRPr lang="en-US"/>
        </a:p>
      </dgm:t>
    </dgm:pt>
    <dgm:pt modelId="{344BC4BA-228E-4E1C-986D-5CDE911A79D2}" type="sibTrans" cxnId="{B4754DA2-36C5-448B-BAE3-D9470CBC5BAC}">
      <dgm:prSet/>
      <dgm:spPr/>
      <dgm:t>
        <a:bodyPr/>
        <a:lstStyle/>
        <a:p>
          <a:endParaRPr lang="en-US"/>
        </a:p>
      </dgm:t>
    </dgm:pt>
    <dgm:pt modelId="{F5641733-69C0-4426-B0F5-97FCC080253C}">
      <dgm:prSet/>
      <dgm:spPr/>
      <dgm:t>
        <a:bodyPr/>
        <a:lstStyle/>
        <a:p>
          <a:pPr algn="ctr"/>
          <a:r>
            <a:rPr lang="en-US" dirty="0"/>
            <a:t>Permissions</a:t>
          </a:r>
        </a:p>
      </dgm:t>
    </dgm:pt>
    <dgm:pt modelId="{F1C4E136-5C7A-4678-9F89-22A75CDF57EB}" type="parTrans" cxnId="{AA446B87-207C-4400-98DF-B27F1A4C5C9F}">
      <dgm:prSet/>
      <dgm:spPr/>
      <dgm:t>
        <a:bodyPr/>
        <a:lstStyle/>
        <a:p>
          <a:endParaRPr lang="en-US"/>
        </a:p>
      </dgm:t>
    </dgm:pt>
    <dgm:pt modelId="{435F92EB-8EFB-42AA-AADC-63AEEFDDD1FE}" type="sibTrans" cxnId="{AA446B87-207C-4400-98DF-B27F1A4C5C9F}">
      <dgm:prSet/>
      <dgm:spPr/>
      <dgm:t>
        <a:bodyPr/>
        <a:lstStyle/>
        <a:p>
          <a:endParaRPr lang="en-US"/>
        </a:p>
      </dgm:t>
    </dgm:pt>
    <dgm:pt modelId="{CB50AF5F-26C1-47CF-840E-AF7DFF532702}">
      <dgm:prSet/>
      <dgm:spPr/>
      <dgm:t>
        <a:bodyPr/>
        <a:lstStyle/>
        <a:p>
          <a:pPr algn="l"/>
          <a:r>
            <a:rPr lang="en-US" dirty="0"/>
            <a:t>Users who have been assigned any admin role in Microsoft 365 can view Message center posts.</a:t>
          </a:r>
        </a:p>
      </dgm:t>
    </dgm:pt>
    <dgm:pt modelId="{1513249E-4021-457B-A320-66A3B15F24C8}" type="parTrans" cxnId="{0A88B2E2-645A-4933-925B-E5BFC9CA5F6E}">
      <dgm:prSet/>
      <dgm:spPr/>
      <dgm:t>
        <a:bodyPr/>
        <a:lstStyle/>
        <a:p>
          <a:endParaRPr lang="en-US"/>
        </a:p>
      </dgm:t>
    </dgm:pt>
    <dgm:pt modelId="{99150428-7CB6-40DC-8D89-B5C7959187F4}" type="sibTrans" cxnId="{0A88B2E2-645A-4933-925B-E5BFC9CA5F6E}">
      <dgm:prSet/>
      <dgm:spPr/>
      <dgm:t>
        <a:bodyPr/>
        <a:lstStyle/>
        <a:p>
          <a:endParaRPr lang="en-US"/>
        </a:p>
      </dgm:t>
    </dgm:pt>
    <dgm:pt modelId="{47CC4119-605F-424E-9A2C-F829E16802DA}">
      <dgm:prSet/>
      <dgm:spPr/>
      <dgm:t>
        <a:bodyPr/>
        <a:lstStyle/>
        <a:p>
          <a:pPr algn="l"/>
          <a:r>
            <a:rPr lang="en-US"/>
            <a:t>You can also assign the Message center reader role to users who should be able to read and share Message center posts without having any other admin privilege</a:t>
          </a:r>
        </a:p>
      </dgm:t>
    </dgm:pt>
    <dgm:pt modelId="{7521A076-01BF-4BA5-B2AC-B7652E612ED8}" type="parTrans" cxnId="{29A7AC39-0C68-404B-BBFC-0469AF5B8878}">
      <dgm:prSet/>
      <dgm:spPr/>
      <dgm:t>
        <a:bodyPr/>
        <a:lstStyle/>
        <a:p>
          <a:endParaRPr lang="en-US"/>
        </a:p>
      </dgm:t>
    </dgm:pt>
    <dgm:pt modelId="{57407531-17F2-4F41-AB19-7CDC8689C4AD}" type="sibTrans" cxnId="{29A7AC39-0C68-404B-BBFC-0469AF5B8878}">
      <dgm:prSet/>
      <dgm:spPr/>
      <dgm:t>
        <a:bodyPr/>
        <a:lstStyle/>
        <a:p>
          <a:endParaRPr lang="en-US"/>
        </a:p>
      </dgm:t>
    </dgm:pt>
    <dgm:pt modelId="{3D5C5E9D-032C-464A-826F-6336D6CD6463}" type="pres">
      <dgm:prSet presAssocID="{991D49E8-AA67-4E7C-8D60-1B1032379744}" presName="diagram" presStyleCnt="0">
        <dgm:presLayoutVars>
          <dgm:dir/>
          <dgm:resizeHandles val="exact"/>
        </dgm:presLayoutVars>
      </dgm:prSet>
      <dgm:spPr/>
    </dgm:pt>
    <dgm:pt modelId="{6F5E8EC5-12A8-4D80-BF2B-A667E82875D0}" type="pres">
      <dgm:prSet presAssocID="{38D31DE1-34AF-475C-B820-163A69E78B9D}" presName="node" presStyleLbl="node1" presStyleIdx="0" presStyleCnt="3">
        <dgm:presLayoutVars>
          <dgm:bulletEnabled val="1"/>
        </dgm:presLayoutVars>
      </dgm:prSet>
      <dgm:spPr/>
    </dgm:pt>
    <dgm:pt modelId="{8DF151A5-92BD-479E-B80F-648FDAC7FCA2}" type="pres">
      <dgm:prSet presAssocID="{95F07A9C-41EA-47BA-9D61-1E86440C0A5B}" presName="sibTrans" presStyleCnt="0"/>
      <dgm:spPr/>
    </dgm:pt>
    <dgm:pt modelId="{7D0FA29C-CF93-4461-9714-6E7FD0F3CC63}" type="pres">
      <dgm:prSet presAssocID="{BF361857-D0EE-4458-9D62-9B2125A10FB3}" presName="node" presStyleLbl="node1" presStyleIdx="1" presStyleCnt="3">
        <dgm:presLayoutVars>
          <dgm:bulletEnabled val="1"/>
        </dgm:presLayoutVars>
      </dgm:prSet>
      <dgm:spPr/>
    </dgm:pt>
    <dgm:pt modelId="{8D78D1D9-15BD-4346-9513-4DC35ECDA18B}" type="pres">
      <dgm:prSet presAssocID="{344BC4BA-228E-4E1C-986D-5CDE911A79D2}" presName="sibTrans" presStyleCnt="0"/>
      <dgm:spPr/>
    </dgm:pt>
    <dgm:pt modelId="{F5AD6EC6-D142-4D21-B6E2-A8001731050C}" type="pres">
      <dgm:prSet presAssocID="{F5641733-69C0-4426-B0F5-97FCC080253C}" presName="node" presStyleLbl="node1" presStyleIdx="2" presStyleCnt="3">
        <dgm:presLayoutVars>
          <dgm:bulletEnabled val="1"/>
        </dgm:presLayoutVars>
      </dgm:prSet>
      <dgm:spPr/>
    </dgm:pt>
  </dgm:ptLst>
  <dgm:cxnLst>
    <dgm:cxn modelId="{B3AA1D08-B3AA-493F-953F-E645ED3DDCA5}" type="presOf" srcId="{38D31DE1-34AF-475C-B820-163A69E78B9D}" destId="{6F5E8EC5-12A8-4D80-BF2B-A667E82875D0}" srcOrd="0" destOrd="0" presId="urn:microsoft.com/office/officeart/2005/8/layout/default"/>
    <dgm:cxn modelId="{C4F8441E-516F-4D3F-A2C0-6444C5106AAD}" type="presOf" srcId="{CB50AF5F-26C1-47CF-840E-AF7DFF532702}" destId="{F5AD6EC6-D142-4D21-B6E2-A8001731050C}" srcOrd="0" destOrd="1" presId="urn:microsoft.com/office/officeart/2005/8/layout/default"/>
    <dgm:cxn modelId="{29A7AC39-0C68-404B-BBFC-0469AF5B8878}" srcId="{F5641733-69C0-4426-B0F5-97FCC080253C}" destId="{47CC4119-605F-424E-9A2C-F829E16802DA}" srcOrd="1" destOrd="0" parTransId="{7521A076-01BF-4BA5-B2AC-B7652E612ED8}" sibTransId="{57407531-17F2-4F41-AB19-7CDC8689C4AD}"/>
    <dgm:cxn modelId="{019B7A65-8E5A-430C-B7D6-DC6CAB14CC0B}" type="presOf" srcId="{47CC4119-605F-424E-9A2C-F829E16802DA}" destId="{F5AD6EC6-D142-4D21-B6E2-A8001731050C}" srcOrd="0" destOrd="2" presId="urn:microsoft.com/office/officeart/2005/8/layout/default"/>
    <dgm:cxn modelId="{FA885266-A1F7-479F-BCB1-B097EE0A332B}" type="presOf" srcId="{991D49E8-AA67-4E7C-8D60-1B1032379744}" destId="{3D5C5E9D-032C-464A-826F-6336D6CD6463}" srcOrd="0" destOrd="0" presId="urn:microsoft.com/office/officeart/2005/8/layout/default"/>
    <dgm:cxn modelId="{B9FC6A50-5B04-4663-9998-EA2779DBB9F4}" type="presOf" srcId="{F5641733-69C0-4426-B0F5-97FCC080253C}" destId="{F5AD6EC6-D142-4D21-B6E2-A8001731050C}" srcOrd="0" destOrd="0" presId="urn:microsoft.com/office/officeart/2005/8/layout/default"/>
    <dgm:cxn modelId="{AA446B87-207C-4400-98DF-B27F1A4C5C9F}" srcId="{991D49E8-AA67-4E7C-8D60-1B1032379744}" destId="{F5641733-69C0-4426-B0F5-97FCC080253C}" srcOrd="2" destOrd="0" parTransId="{F1C4E136-5C7A-4678-9F89-22A75CDF57EB}" sibTransId="{435F92EB-8EFB-42AA-AADC-63AEEFDDD1FE}"/>
    <dgm:cxn modelId="{AA19FFA0-1437-4093-9795-2C64EC0686FC}" type="presOf" srcId="{BF361857-D0EE-4458-9D62-9B2125A10FB3}" destId="{7D0FA29C-CF93-4461-9714-6E7FD0F3CC63}" srcOrd="0" destOrd="0" presId="urn:microsoft.com/office/officeart/2005/8/layout/default"/>
    <dgm:cxn modelId="{B4754DA2-36C5-448B-BAE3-D9470CBC5BAC}" srcId="{991D49E8-AA67-4E7C-8D60-1B1032379744}" destId="{BF361857-D0EE-4458-9D62-9B2125A10FB3}" srcOrd="1" destOrd="0" parTransId="{94C09D71-E8F9-41EB-B9F2-029C7BC1FCE4}" sibTransId="{344BC4BA-228E-4E1C-986D-5CDE911A79D2}"/>
    <dgm:cxn modelId="{7077B6A7-C6CD-4DF2-B903-E99571C8872E}" srcId="{991D49E8-AA67-4E7C-8D60-1B1032379744}" destId="{38D31DE1-34AF-475C-B820-163A69E78B9D}" srcOrd="0" destOrd="0" parTransId="{A86798C4-2CF8-40BE-A77A-4AF70692D676}" sibTransId="{95F07A9C-41EA-47BA-9D61-1E86440C0A5B}"/>
    <dgm:cxn modelId="{0A88B2E2-645A-4933-925B-E5BFC9CA5F6E}" srcId="{F5641733-69C0-4426-B0F5-97FCC080253C}" destId="{CB50AF5F-26C1-47CF-840E-AF7DFF532702}" srcOrd="0" destOrd="0" parTransId="{1513249E-4021-457B-A320-66A3B15F24C8}" sibTransId="{99150428-7CB6-40DC-8D89-B5C7959187F4}"/>
    <dgm:cxn modelId="{B06C8FB1-EAD1-4345-9C52-4AC934C40E71}" type="presParOf" srcId="{3D5C5E9D-032C-464A-826F-6336D6CD6463}" destId="{6F5E8EC5-12A8-4D80-BF2B-A667E82875D0}" srcOrd="0" destOrd="0" presId="urn:microsoft.com/office/officeart/2005/8/layout/default"/>
    <dgm:cxn modelId="{F2E9C665-7E2C-4D0A-A114-3D4460EA0915}" type="presParOf" srcId="{3D5C5E9D-032C-464A-826F-6336D6CD6463}" destId="{8DF151A5-92BD-479E-B80F-648FDAC7FCA2}" srcOrd="1" destOrd="0" presId="urn:microsoft.com/office/officeart/2005/8/layout/default"/>
    <dgm:cxn modelId="{98B88FBF-41FF-4511-ABE2-DE6ABF279E6B}" type="presParOf" srcId="{3D5C5E9D-032C-464A-826F-6336D6CD6463}" destId="{7D0FA29C-CF93-4461-9714-6E7FD0F3CC63}" srcOrd="2" destOrd="0" presId="urn:microsoft.com/office/officeart/2005/8/layout/default"/>
    <dgm:cxn modelId="{5D6C4715-47B0-4D70-9AD0-6C37B0835F42}" type="presParOf" srcId="{3D5C5E9D-032C-464A-826F-6336D6CD6463}" destId="{8D78D1D9-15BD-4346-9513-4DC35ECDA18B}" srcOrd="3" destOrd="0" presId="urn:microsoft.com/office/officeart/2005/8/layout/default"/>
    <dgm:cxn modelId="{4D526639-EC75-4974-ACCB-5F60647F86E0}" type="presParOf" srcId="{3D5C5E9D-032C-464A-826F-6336D6CD6463}" destId="{F5AD6EC6-D142-4D21-B6E2-A8001731050C}" srcOrd="4"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7DCD549-2C89-4DBF-9EC7-74974A2AE8E7}"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F2077704-01FB-4823-B49D-7FE1A20277A9}">
      <dgm:prSet/>
      <dgm:spPr/>
      <dgm:t>
        <a:bodyPr/>
        <a:lstStyle/>
        <a:p>
          <a:pPr algn="ctr"/>
          <a:r>
            <a:rPr lang="sv-SE" dirty="0"/>
            <a:t>Microsoft 365 Message Center is used to post</a:t>
          </a:r>
          <a:r>
            <a:rPr lang="en-US" b="0" i="0" dirty="0"/>
            <a:t> upcoming feature releases or issues.</a:t>
          </a:r>
          <a:endParaRPr lang="en-US" dirty="0"/>
        </a:p>
      </dgm:t>
    </dgm:pt>
    <dgm:pt modelId="{92B3A730-C66A-4AFD-92A2-45C6D37A46EA}" type="parTrans" cxnId="{1E924160-1453-42C9-8F4B-37F3044D2506}">
      <dgm:prSet/>
      <dgm:spPr/>
      <dgm:t>
        <a:bodyPr/>
        <a:lstStyle/>
        <a:p>
          <a:endParaRPr lang="en-US"/>
        </a:p>
      </dgm:t>
    </dgm:pt>
    <dgm:pt modelId="{2520AD71-A760-4984-BA1F-6CA189BB605C}" type="sibTrans" cxnId="{1E924160-1453-42C9-8F4B-37F3044D2506}">
      <dgm:prSet/>
      <dgm:spPr/>
      <dgm:t>
        <a:bodyPr/>
        <a:lstStyle/>
        <a:p>
          <a:endParaRPr lang="en-US"/>
        </a:p>
      </dgm:t>
    </dgm:pt>
    <dgm:pt modelId="{6CFF66B3-DC40-4DE5-BE41-106B75242AC0}">
      <dgm:prSet/>
      <dgm:spPr/>
      <dgm:t>
        <a:bodyPr/>
        <a:lstStyle/>
        <a:p>
          <a:pPr algn="ctr"/>
          <a:r>
            <a:rPr lang="en-US" b="0" i="0" dirty="0"/>
            <a:t>Each post gives a high-level overview of a planned change and how it may affect users</a:t>
          </a:r>
          <a:endParaRPr lang="en-US" dirty="0"/>
        </a:p>
      </dgm:t>
    </dgm:pt>
    <dgm:pt modelId="{7C34CCB4-C3BE-4E37-AFA4-A2A3A229D367}" type="parTrans" cxnId="{9AF093D2-533D-4F6F-874B-192EDC8E4025}">
      <dgm:prSet/>
      <dgm:spPr/>
      <dgm:t>
        <a:bodyPr/>
        <a:lstStyle/>
        <a:p>
          <a:endParaRPr lang="en-US"/>
        </a:p>
      </dgm:t>
    </dgm:pt>
    <dgm:pt modelId="{DE57364F-2BDA-4558-8702-12D5284D9345}" type="sibTrans" cxnId="{9AF093D2-533D-4F6F-874B-192EDC8E4025}">
      <dgm:prSet/>
      <dgm:spPr/>
      <dgm:t>
        <a:bodyPr/>
        <a:lstStyle/>
        <a:p>
          <a:endParaRPr lang="en-US"/>
        </a:p>
      </dgm:t>
    </dgm:pt>
    <dgm:pt modelId="{71E63C99-2D8E-4FBC-AFCB-8EBDD1C3E5E9}">
      <dgm:prSet/>
      <dgm:spPr/>
      <dgm:t>
        <a:bodyPr/>
        <a:lstStyle/>
        <a:p>
          <a:pPr algn="ctr"/>
          <a:r>
            <a:rPr lang="en-US" b="0" i="0" dirty="0"/>
            <a:t>Permissions</a:t>
          </a:r>
          <a:endParaRPr lang="en-US" dirty="0"/>
        </a:p>
      </dgm:t>
    </dgm:pt>
    <dgm:pt modelId="{6A294BE2-A9B7-45C3-B3B8-9E746BB625BC}" type="parTrans" cxnId="{7EEB6243-6DA6-4813-8AB5-36D47186AE7B}">
      <dgm:prSet/>
      <dgm:spPr/>
      <dgm:t>
        <a:bodyPr/>
        <a:lstStyle/>
        <a:p>
          <a:endParaRPr lang="en-US"/>
        </a:p>
      </dgm:t>
    </dgm:pt>
    <dgm:pt modelId="{2D28529E-74F5-4728-8CE1-9D3FE4790889}" type="sibTrans" cxnId="{7EEB6243-6DA6-4813-8AB5-36D47186AE7B}">
      <dgm:prSet/>
      <dgm:spPr/>
      <dgm:t>
        <a:bodyPr/>
        <a:lstStyle/>
        <a:p>
          <a:endParaRPr lang="en-US"/>
        </a:p>
      </dgm:t>
    </dgm:pt>
    <dgm:pt modelId="{0F560900-458D-4C67-B77D-8C3AD7FFE6E1}">
      <dgm:prSet/>
      <dgm:spPr/>
      <dgm:t>
        <a:bodyPr/>
        <a:lstStyle/>
        <a:p>
          <a:pPr algn="ctr"/>
          <a:r>
            <a:rPr lang="en-US" b="0" i="0" dirty="0"/>
            <a:t>Users who have been assigned any admin role in Microsoft 365 can view Message center posts.</a:t>
          </a:r>
          <a:endParaRPr lang="en-US" dirty="0"/>
        </a:p>
      </dgm:t>
    </dgm:pt>
    <dgm:pt modelId="{706FE19D-F810-489F-98EB-AF7A427FB5FE}" type="parTrans" cxnId="{F3D8AFFC-DD42-4366-A097-14CC23DC7193}">
      <dgm:prSet/>
      <dgm:spPr/>
      <dgm:t>
        <a:bodyPr/>
        <a:lstStyle/>
        <a:p>
          <a:endParaRPr lang="en-US"/>
        </a:p>
      </dgm:t>
    </dgm:pt>
    <dgm:pt modelId="{C7EF6201-4279-499D-BDC8-69D871968DA1}" type="sibTrans" cxnId="{F3D8AFFC-DD42-4366-A097-14CC23DC7193}">
      <dgm:prSet/>
      <dgm:spPr/>
      <dgm:t>
        <a:bodyPr/>
        <a:lstStyle/>
        <a:p>
          <a:endParaRPr lang="en-US"/>
        </a:p>
      </dgm:t>
    </dgm:pt>
    <dgm:pt modelId="{BAC5F5A6-6C46-403B-A815-476B7893368A}">
      <dgm:prSet/>
      <dgm:spPr/>
      <dgm:t>
        <a:bodyPr/>
        <a:lstStyle/>
        <a:p>
          <a:pPr algn="ctr"/>
          <a:r>
            <a:rPr lang="en-US" b="0" i="0" dirty="0"/>
            <a:t>You can also assign the Message center reader role to users who should be able to read and share Message center posts without having any other admin privilege</a:t>
          </a:r>
          <a:endParaRPr lang="en-US" dirty="0"/>
        </a:p>
      </dgm:t>
    </dgm:pt>
    <dgm:pt modelId="{F58967F5-3B92-4C7E-97DF-AC03A04D58C9}" type="parTrans" cxnId="{230C1914-ACC3-48B2-8C04-E486B652F962}">
      <dgm:prSet/>
      <dgm:spPr/>
      <dgm:t>
        <a:bodyPr/>
        <a:lstStyle/>
        <a:p>
          <a:endParaRPr lang="en-US"/>
        </a:p>
      </dgm:t>
    </dgm:pt>
    <dgm:pt modelId="{5D277F3C-B15F-4D0C-8EF5-B051D8C40356}" type="sibTrans" cxnId="{230C1914-ACC3-48B2-8C04-E486B652F962}">
      <dgm:prSet/>
      <dgm:spPr/>
      <dgm:t>
        <a:bodyPr/>
        <a:lstStyle/>
        <a:p>
          <a:endParaRPr lang="en-US"/>
        </a:p>
      </dgm:t>
    </dgm:pt>
    <dgm:pt modelId="{667D00C1-032F-4AC0-9C7C-D0BB07FEA034}" type="pres">
      <dgm:prSet presAssocID="{67DCD549-2C89-4DBF-9EC7-74974A2AE8E7}" presName="diagram" presStyleCnt="0">
        <dgm:presLayoutVars>
          <dgm:dir/>
          <dgm:resizeHandles val="exact"/>
        </dgm:presLayoutVars>
      </dgm:prSet>
      <dgm:spPr/>
    </dgm:pt>
    <dgm:pt modelId="{C77A9091-E232-4546-89D7-310771C81233}" type="pres">
      <dgm:prSet presAssocID="{F2077704-01FB-4823-B49D-7FE1A20277A9}" presName="node" presStyleLbl="node1" presStyleIdx="0" presStyleCnt="3">
        <dgm:presLayoutVars>
          <dgm:bulletEnabled val="1"/>
        </dgm:presLayoutVars>
      </dgm:prSet>
      <dgm:spPr/>
    </dgm:pt>
    <dgm:pt modelId="{81A695D4-AD11-48C2-A083-3A7CC23F3F52}" type="pres">
      <dgm:prSet presAssocID="{2520AD71-A760-4984-BA1F-6CA189BB605C}" presName="sibTrans" presStyleCnt="0"/>
      <dgm:spPr/>
    </dgm:pt>
    <dgm:pt modelId="{E8C3B4F6-B1EA-49F3-99F2-73D1769DFDB6}" type="pres">
      <dgm:prSet presAssocID="{6CFF66B3-DC40-4DE5-BE41-106B75242AC0}" presName="node" presStyleLbl="node1" presStyleIdx="1" presStyleCnt="3">
        <dgm:presLayoutVars>
          <dgm:bulletEnabled val="1"/>
        </dgm:presLayoutVars>
      </dgm:prSet>
      <dgm:spPr/>
    </dgm:pt>
    <dgm:pt modelId="{1F78C60A-D655-4B37-8F0B-C9B253A8790A}" type="pres">
      <dgm:prSet presAssocID="{DE57364F-2BDA-4558-8702-12D5284D9345}" presName="sibTrans" presStyleCnt="0"/>
      <dgm:spPr/>
    </dgm:pt>
    <dgm:pt modelId="{66F23593-1B7F-4C1C-A884-F2CBA9CF54A9}" type="pres">
      <dgm:prSet presAssocID="{71E63C99-2D8E-4FBC-AFCB-8EBDD1C3E5E9}" presName="node" presStyleLbl="node1" presStyleIdx="2" presStyleCnt="3">
        <dgm:presLayoutVars>
          <dgm:bulletEnabled val="1"/>
        </dgm:presLayoutVars>
      </dgm:prSet>
      <dgm:spPr/>
    </dgm:pt>
  </dgm:ptLst>
  <dgm:cxnLst>
    <dgm:cxn modelId="{230C1914-ACC3-48B2-8C04-E486B652F962}" srcId="{71E63C99-2D8E-4FBC-AFCB-8EBDD1C3E5E9}" destId="{BAC5F5A6-6C46-403B-A815-476B7893368A}" srcOrd="1" destOrd="0" parTransId="{F58967F5-3B92-4C7E-97DF-AC03A04D58C9}" sibTransId="{5D277F3C-B15F-4D0C-8EF5-B051D8C40356}"/>
    <dgm:cxn modelId="{6FABF823-6E92-49A8-99D0-DFBF58E7A5AF}" type="presOf" srcId="{0F560900-458D-4C67-B77D-8C3AD7FFE6E1}" destId="{66F23593-1B7F-4C1C-A884-F2CBA9CF54A9}" srcOrd="0" destOrd="1" presId="urn:microsoft.com/office/officeart/2005/8/layout/default"/>
    <dgm:cxn modelId="{74083B5D-18E2-4AB9-A765-D70EA3E155A3}" type="presOf" srcId="{6CFF66B3-DC40-4DE5-BE41-106B75242AC0}" destId="{E8C3B4F6-B1EA-49F3-99F2-73D1769DFDB6}" srcOrd="0" destOrd="0" presId="urn:microsoft.com/office/officeart/2005/8/layout/default"/>
    <dgm:cxn modelId="{1E924160-1453-42C9-8F4B-37F3044D2506}" srcId="{67DCD549-2C89-4DBF-9EC7-74974A2AE8E7}" destId="{F2077704-01FB-4823-B49D-7FE1A20277A9}" srcOrd="0" destOrd="0" parTransId="{92B3A730-C66A-4AFD-92A2-45C6D37A46EA}" sibTransId="{2520AD71-A760-4984-BA1F-6CA189BB605C}"/>
    <dgm:cxn modelId="{7EEB6243-6DA6-4813-8AB5-36D47186AE7B}" srcId="{67DCD549-2C89-4DBF-9EC7-74974A2AE8E7}" destId="{71E63C99-2D8E-4FBC-AFCB-8EBDD1C3E5E9}" srcOrd="2" destOrd="0" parTransId="{6A294BE2-A9B7-45C3-B3B8-9E746BB625BC}" sibTransId="{2D28529E-74F5-4728-8CE1-9D3FE4790889}"/>
    <dgm:cxn modelId="{D4004EBA-79E4-4965-BF83-168D732B66B3}" type="presOf" srcId="{BAC5F5A6-6C46-403B-A815-476B7893368A}" destId="{66F23593-1B7F-4C1C-A884-F2CBA9CF54A9}" srcOrd="0" destOrd="2" presId="urn:microsoft.com/office/officeart/2005/8/layout/default"/>
    <dgm:cxn modelId="{B75537C0-E992-4A6D-AE02-924CFAB392E6}" type="presOf" srcId="{71E63C99-2D8E-4FBC-AFCB-8EBDD1C3E5E9}" destId="{66F23593-1B7F-4C1C-A884-F2CBA9CF54A9}" srcOrd="0" destOrd="0" presId="urn:microsoft.com/office/officeart/2005/8/layout/default"/>
    <dgm:cxn modelId="{C4BE5EC2-A0D6-4A33-9945-044524BE4B36}" type="presOf" srcId="{F2077704-01FB-4823-B49D-7FE1A20277A9}" destId="{C77A9091-E232-4546-89D7-310771C81233}" srcOrd="0" destOrd="0" presId="urn:microsoft.com/office/officeart/2005/8/layout/default"/>
    <dgm:cxn modelId="{6F4180C2-F20B-4949-86AE-64476EF45571}" type="presOf" srcId="{67DCD549-2C89-4DBF-9EC7-74974A2AE8E7}" destId="{667D00C1-032F-4AC0-9C7C-D0BB07FEA034}" srcOrd="0" destOrd="0" presId="urn:microsoft.com/office/officeart/2005/8/layout/default"/>
    <dgm:cxn modelId="{9AF093D2-533D-4F6F-874B-192EDC8E4025}" srcId="{67DCD549-2C89-4DBF-9EC7-74974A2AE8E7}" destId="{6CFF66B3-DC40-4DE5-BE41-106B75242AC0}" srcOrd="1" destOrd="0" parTransId="{7C34CCB4-C3BE-4E37-AFA4-A2A3A229D367}" sibTransId="{DE57364F-2BDA-4558-8702-12D5284D9345}"/>
    <dgm:cxn modelId="{F3D8AFFC-DD42-4366-A097-14CC23DC7193}" srcId="{71E63C99-2D8E-4FBC-AFCB-8EBDD1C3E5E9}" destId="{0F560900-458D-4C67-B77D-8C3AD7FFE6E1}" srcOrd="0" destOrd="0" parTransId="{706FE19D-F810-489F-98EB-AF7A427FB5FE}" sibTransId="{C7EF6201-4279-499D-BDC8-69D871968DA1}"/>
    <dgm:cxn modelId="{F8862BC6-E9FD-4966-BED3-6A847B3AB942}" type="presParOf" srcId="{667D00C1-032F-4AC0-9C7C-D0BB07FEA034}" destId="{C77A9091-E232-4546-89D7-310771C81233}" srcOrd="0" destOrd="0" presId="urn:microsoft.com/office/officeart/2005/8/layout/default"/>
    <dgm:cxn modelId="{AA52EE09-005F-420D-B6B8-983343E26ED7}" type="presParOf" srcId="{667D00C1-032F-4AC0-9C7C-D0BB07FEA034}" destId="{81A695D4-AD11-48C2-A083-3A7CC23F3F52}" srcOrd="1" destOrd="0" presId="urn:microsoft.com/office/officeart/2005/8/layout/default"/>
    <dgm:cxn modelId="{65DAC63A-47C8-4123-B875-01CFC3ADA0BC}" type="presParOf" srcId="{667D00C1-032F-4AC0-9C7C-D0BB07FEA034}" destId="{E8C3B4F6-B1EA-49F3-99F2-73D1769DFDB6}" srcOrd="2" destOrd="0" presId="urn:microsoft.com/office/officeart/2005/8/layout/default"/>
    <dgm:cxn modelId="{B48E7D93-F2E1-4D32-B0F3-CA9E82B98984}" type="presParOf" srcId="{667D00C1-032F-4AC0-9C7C-D0BB07FEA034}" destId="{1F78C60A-D655-4B37-8F0B-C9B253A8790A}" srcOrd="3" destOrd="0" presId="urn:microsoft.com/office/officeart/2005/8/layout/default"/>
    <dgm:cxn modelId="{038E63C2-05FF-4038-B072-0CE5822A4A63}" type="presParOf" srcId="{667D00C1-032F-4AC0-9C7C-D0BB07FEA034}" destId="{66F23593-1B7F-4C1C-A884-F2CBA9CF54A9}"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8313F-9DE1-4E96-A788-2DBC72FED5EA}">
      <dsp:nvSpPr>
        <dsp:cNvPr id="0" name=""/>
        <dsp:cNvSpPr/>
      </dsp:nvSpPr>
      <dsp:spPr>
        <a:xfrm>
          <a:off x="0" y="5805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ABF26A1-E35D-40CE-9C6A-6D9293AC9DE6}">
      <dsp:nvSpPr>
        <dsp:cNvPr id="0" name=""/>
        <dsp:cNvSpPr/>
      </dsp:nvSpPr>
      <dsp:spPr>
        <a:xfrm>
          <a:off x="544036" y="639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114422"/>
        <a:ext cx="7515632" cy="932326"/>
      </dsp:txXfrm>
    </dsp:sp>
    <dsp:sp modelId="{1DA964AC-4A55-4A27-8D2A-96D58EBA493A}">
      <dsp:nvSpPr>
        <dsp:cNvPr id="0" name=""/>
        <dsp:cNvSpPr/>
      </dsp:nvSpPr>
      <dsp:spPr>
        <a:xfrm>
          <a:off x="0" y="21681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7B2DF3-2C7C-490E-B6A4-FC8E9C8E88C9}">
      <dsp:nvSpPr>
        <dsp:cNvPr id="0" name=""/>
        <dsp:cNvSpPr/>
      </dsp:nvSpPr>
      <dsp:spPr>
        <a:xfrm>
          <a:off x="544036" y="16515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1702022"/>
        <a:ext cx="7515632" cy="932326"/>
      </dsp:txXfrm>
    </dsp:sp>
    <dsp:sp modelId="{28C15B55-83BE-4F22-AB61-34F84B57745B}">
      <dsp:nvSpPr>
        <dsp:cNvPr id="0" name=""/>
        <dsp:cNvSpPr/>
      </dsp:nvSpPr>
      <dsp:spPr>
        <a:xfrm>
          <a:off x="0" y="37557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44156B-E35B-4AA6-BAAD-A093BF798483}">
      <dsp:nvSpPr>
        <dsp:cNvPr id="0" name=""/>
        <dsp:cNvSpPr/>
      </dsp:nvSpPr>
      <dsp:spPr>
        <a:xfrm>
          <a:off x="544036" y="32391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3289622"/>
        <a:ext cx="7515632" cy="93232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B02785-4EB7-4673-8792-92DCDB333348}">
      <dsp:nvSpPr>
        <dsp:cNvPr id="0" name=""/>
        <dsp:cNvSpPr/>
      </dsp:nvSpPr>
      <dsp:spPr>
        <a:xfrm>
          <a:off x="3421942"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0" i="0" kern="1200" dirty="0"/>
            <a:t>In a distributed organization, Each admin can set preferences that control which messages are displayed in Message center. </a:t>
          </a:r>
          <a:endParaRPr lang="en-US" sz="1300" kern="1200" dirty="0"/>
        </a:p>
      </dsp:txBody>
      <dsp:txXfrm>
        <a:off x="3421942" y="828"/>
        <a:ext cx="2290304" cy="1374182"/>
      </dsp:txXfrm>
    </dsp:sp>
    <dsp:sp modelId="{0276F3AC-9907-49F4-97FE-D49F91BB57C3}">
      <dsp:nvSpPr>
        <dsp:cNvPr id="0" name=""/>
        <dsp:cNvSpPr/>
      </dsp:nvSpPr>
      <dsp:spPr>
        <a:xfrm>
          <a:off x="5941276"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0" i="0" kern="1200" dirty="0"/>
            <a:t>Opt-in to receive a weekly digest of messages in email.</a:t>
          </a:r>
          <a:endParaRPr lang="en-US" sz="1300" kern="1200" dirty="0"/>
        </a:p>
      </dsp:txBody>
      <dsp:txXfrm>
        <a:off x="5941276" y="828"/>
        <a:ext cx="2290304" cy="137418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B78BD-7178-4941-9868-2406CE39C04D}">
      <dsp:nvSpPr>
        <dsp:cNvPr id="0" name=""/>
        <dsp:cNvSpPr/>
      </dsp:nvSpPr>
      <dsp:spPr>
        <a:xfrm>
          <a:off x="0" y="275579"/>
          <a:ext cx="10880725" cy="7434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Business, Enterprise, Education, and Government </a:t>
          </a:r>
          <a:endParaRPr lang="nb-NO" sz="1800" kern="1200" dirty="0"/>
        </a:p>
      </dsp:txBody>
      <dsp:txXfrm>
        <a:off x="0" y="275579"/>
        <a:ext cx="10880725" cy="743400"/>
      </dsp:txXfrm>
    </dsp:sp>
    <dsp:sp modelId="{D41BB360-384E-4B4B-B035-8290D1F7BDFE}">
      <dsp:nvSpPr>
        <dsp:cNvPr id="0" name=""/>
        <dsp:cNvSpPr/>
      </dsp:nvSpPr>
      <dsp:spPr>
        <a:xfrm>
          <a:off x="544036" y="39419"/>
          <a:ext cx="7616507"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are the service families provided by Microsoft 365?</a:t>
          </a:r>
          <a:endParaRPr lang="nb-NO" sz="1800" kern="1200" dirty="0"/>
        </a:p>
      </dsp:txBody>
      <dsp:txXfrm>
        <a:off x="567093" y="62476"/>
        <a:ext cx="7570393" cy="426206"/>
      </dsp:txXfrm>
    </dsp:sp>
    <dsp:sp modelId="{3EC07AA1-1292-4840-9D59-7BFF6AAECBA4}">
      <dsp:nvSpPr>
        <dsp:cNvPr id="0" name=""/>
        <dsp:cNvSpPr/>
      </dsp:nvSpPr>
      <dsp:spPr>
        <a:xfrm>
          <a:off x="0" y="1341539"/>
          <a:ext cx="10880725" cy="10332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Currently locations are in the United States, European Union, Asia Pacific (APAC), Australia, Canada, France, India, Japan, Korea, Germany, and United Kingdom.</a:t>
          </a:r>
          <a:endParaRPr lang="nb-NO" sz="1800" kern="1200" dirty="0"/>
        </a:p>
      </dsp:txBody>
      <dsp:txXfrm>
        <a:off x="0" y="1341539"/>
        <a:ext cx="10880725" cy="1033200"/>
      </dsp:txXfrm>
    </dsp:sp>
    <dsp:sp modelId="{07F2746E-345B-42A5-9AB5-2847F5E49FC1}">
      <dsp:nvSpPr>
        <dsp:cNvPr id="0" name=""/>
        <dsp:cNvSpPr/>
      </dsp:nvSpPr>
      <dsp:spPr>
        <a:xfrm>
          <a:off x="544036" y="1105379"/>
          <a:ext cx="7616507"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In which regions are the Microsoft 365 datacenters located?</a:t>
          </a:r>
          <a:endParaRPr lang="nb-NO" sz="1800" kern="1200" dirty="0"/>
        </a:p>
      </dsp:txBody>
      <dsp:txXfrm>
        <a:off x="567093" y="1128436"/>
        <a:ext cx="7570393" cy="426206"/>
      </dsp:txXfrm>
    </dsp:sp>
    <dsp:sp modelId="{CFAF0CE1-FD79-4DFE-A162-C709A99B5D8B}">
      <dsp:nvSpPr>
        <dsp:cNvPr id="0" name=""/>
        <dsp:cNvSpPr/>
      </dsp:nvSpPr>
      <dsp:spPr>
        <a:xfrm>
          <a:off x="0" y="2697300"/>
          <a:ext cx="10880725" cy="13356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sers who have been assigned any admin role in Microsoft 365 can view Message center posts. </a:t>
          </a:r>
          <a:endParaRPr lang="nb-NO" sz="1800" kern="1200" dirty="0"/>
        </a:p>
        <a:p>
          <a:pPr marL="171450" lvl="1" indent="-171450" algn="l" defTabSz="800100">
            <a:lnSpc>
              <a:spcPct val="90000"/>
            </a:lnSpc>
            <a:spcBef>
              <a:spcPct val="0"/>
            </a:spcBef>
            <a:spcAft>
              <a:spcPct val="15000"/>
            </a:spcAft>
            <a:buChar char="•"/>
          </a:pPr>
          <a:r>
            <a:rPr lang="en-US" sz="1800" kern="1200"/>
            <a:t>You can also assign the Message center reader role to users. </a:t>
          </a:r>
          <a:endParaRPr lang="nb-NO" sz="1800" kern="1200" dirty="0"/>
        </a:p>
      </dsp:txBody>
      <dsp:txXfrm>
        <a:off x="0" y="2697300"/>
        <a:ext cx="10880725" cy="1335600"/>
      </dsp:txXfrm>
    </dsp:sp>
    <dsp:sp modelId="{654648DE-9039-4609-8ED0-FC7DF465E506}">
      <dsp:nvSpPr>
        <dsp:cNvPr id="0" name=""/>
        <dsp:cNvSpPr/>
      </dsp:nvSpPr>
      <dsp:spPr>
        <a:xfrm>
          <a:off x="544036" y="2461140"/>
          <a:ext cx="7616507"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o can view posts in Message center?</a:t>
          </a:r>
          <a:endParaRPr lang="nb-NO" sz="1800" kern="1200" dirty="0"/>
        </a:p>
      </dsp:txBody>
      <dsp:txXfrm>
        <a:off x="567093" y="2484197"/>
        <a:ext cx="7570393" cy="426206"/>
      </dsp:txXfrm>
    </dsp:sp>
    <dsp:sp modelId="{1865A3C6-E6EF-4645-B08B-DC02A9999E23}">
      <dsp:nvSpPr>
        <dsp:cNvPr id="0" name=""/>
        <dsp:cNvSpPr/>
      </dsp:nvSpPr>
      <dsp:spPr>
        <a:xfrm>
          <a:off x="0" y="4355460"/>
          <a:ext cx="10880725" cy="10332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People who are assigned the global admin or service administrator role can view service health.</a:t>
          </a:r>
          <a:endParaRPr lang="nb-NO" sz="1800" kern="1200" dirty="0"/>
        </a:p>
      </dsp:txBody>
      <dsp:txXfrm>
        <a:off x="0" y="4355460"/>
        <a:ext cx="10880725" cy="1033200"/>
      </dsp:txXfrm>
    </dsp:sp>
    <dsp:sp modelId="{D2B7E05A-3A2D-48EE-B039-77FC73A9D63A}">
      <dsp:nvSpPr>
        <dsp:cNvPr id="0" name=""/>
        <dsp:cNvSpPr/>
      </dsp:nvSpPr>
      <dsp:spPr>
        <a:xfrm>
          <a:off x="544036" y="4119300"/>
          <a:ext cx="7616507"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o can view Microsoft 365 Service Health Dashboard?</a:t>
          </a:r>
          <a:endParaRPr lang="nb-NO" sz="1800" kern="1200" dirty="0"/>
        </a:p>
      </dsp:txBody>
      <dsp:txXfrm>
        <a:off x="567093" y="4142357"/>
        <a:ext cx="7570393" cy="4262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53C02D-CD7D-40EB-B76B-9097C993E205}">
      <dsp:nvSpPr>
        <dsp:cNvPr id="0" name=""/>
        <dsp:cNvSpPr/>
      </dsp:nvSpPr>
      <dsp:spPr>
        <a:xfrm>
          <a:off x="0" y="2353"/>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C0DEE9-530A-4642-8B71-C2DEE7BE64BF}">
      <dsp:nvSpPr>
        <dsp:cNvPr id="0" name=""/>
        <dsp:cNvSpPr/>
      </dsp:nvSpPr>
      <dsp:spPr>
        <a:xfrm>
          <a:off x="0" y="2353"/>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1450" tIns="171450" rIns="171450" bIns="171450" numCol="1" spcCol="1270" anchor="t" anchorCtr="0">
          <a:noAutofit/>
        </a:bodyPr>
        <a:lstStyle/>
        <a:p>
          <a:pPr marL="0" lvl="0" indent="0" algn="l" defTabSz="2000250">
            <a:lnSpc>
              <a:spcPct val="90000"/>
            </a:lnSpc>
            <a:spcBef>
              <a:spcPct val="0"/>
            </a:spcBef>
            <a:spcAft>
              <a:spcPct val="35000"/>
            </a:spcAft>
            <a:buNone/>
          </a:pPr>
          <a:r>
            <a:rPr lang="en-US" sz="4500" kern="1200" baseline="0">
              <a:latin typeface="+mj-lt"/>
            </a:rPr>
            <a:t>Name</a:t>
          </a:r>
          <a:endParaRPr lang="nb-NO" sz="4500" kern="1200">
            <a:latin typeface="+mj-lt"/>
          </a:endParaRPr>
        </a:p>
      </dsp:txBody>
      <dsp:txXfrm>
        <a:off x="0" y="2353"/>
        <a:ext cx="2176145" cy="1604981"/>
      </dsp:txXfrm>
    </dsp:sp>
    <dsp:sp modelId="{83B13917-7FE1-449B-AA46-9E6179434083}">
      <dsp:nvSpPr>
        <dsp:cNvPr id="0" name=""/>
        <dsp:cNvSpPr/>
      </dsp:nvSpPr>
      <dsp:spPr>
        <a:xfrm>
          <a:off x="0" y="1607334"/>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7EA397-2933-4CE0-A4AC-1AE0B1056B6D}">
      <dsp:nvSpPr>
        <dsp:cNvPr id="0" name=""/>
        <dsp:cNvSpPr/>
      </dsp:nvSpPr>
      <dsp:spPr>
        <a:xfrm>
          <a:off x="0" y="1607334"/>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1450" tIns="171450" rIns="171450" bIns="171450" numCol="1" spcCol="1270" anchor="t" anchorCtr="0">
          <a:noAutofit/>
        </a:bodyPr>
        <a:lstStyle/>
        <a:p>
          <a:pPr marL="0" lvl="0" indent="0" algn="l" defTabSz="2000250">
            <a:lnSpc>
              <a:spcPct val="90000"/>
            </a:lnSpc>
            <a:spcBef>
              <a:spcPct val="0"/>
            </a:spcBef>
            <a:spcAft>
              <a:spcPct val="35000"/>
            </a:spcAft>
            <a:buNone/>
          </a:pPr>
          <a:r>
            <a:rPr lang="en-US" sz="4500" kern="1200" baseline="0">
              <a:latin typeface="+mj-lt"/>
            </a:rPr>
            <a:t>Role</a:t>
          </a:r>
          <a:endParaRPr lang="nb-NO" sz="4500" kern="1200">
            <a:latin typeface="+mj-lt"/>
          </a:endParaRPr>
        </a:p>
      </dsp:txBody>
      <dsp:txXfrm>
        <a:off x="0" y="1607334"/>
        <a:ext cx="2176145" cy="1604981"/>
      </dsp:txXfrm>
    </dsp:sp>
    <dsp:sp modelId="{C87418CF-E8B1-47F1-BA36-728F92619F46}">
      <dsp:nvSpPr>
        <dsp:cNvPr id="0" name=""/>
        <dsp:cNvSpPr/>
      </dsp:nvSpPr>
      <dsp:spPr>
        <a:xfrm>
          <a:off x="0" y="3212315"/>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5A44A1-9F7F-4A4D-8198-C63703EE6D22}">
      <dsp:nvSpPr>
        <dsp:cNvPr id="0" name=""/>
        <dsp:cNvSpPr/>
      </dsp:nvSpPr>
      <dsp:spPr>
        <a:xfrm>
          <a:off x="0" y="3212315"/>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1450" tIns="171450" rIns="171450" bIns="171450" numCol="1" spcCol="1270" anchor="t" anchorCtr="0">
          <a:noAutofit/>
        </a:bodyPr>
        <a:lstStyle/>
        <a:p>
          <a:pPr marL="0" lvl="0" indent="0" algn="l" defTabSz="2000250">
            <a:lnSpc>
              <a:spcPct val="90000"/>
            </a:lnSpc>
            <a:spcBef>
              <a:spcPct val="0"/>
            </a:spcBef>
            <a:spcAft>
              <a:spcPct val="35000"/>
            </a:spcAft>
            <a:buNone/>
          </a:pPr>
          <a:r>
            <a:rPr lang="en-US" sz="4500" kern="1200" baseline="0">
              <a:latin typeface="+mj-lt"/>
            </a:rPr>
            <a:t>Timing</a:t>
          </a:r>
          <a:endParaRPr lang="nb-NO" sz="4500" kern="1200">
            <a:latin typeface="+mj-lt"/>
          </a:endParaRPr>
        </a:p>
      </dsp:txBody>
      <dsp:txXfrm>
        <a:off x="0" y="3212315"/>
        <a:ext cx="2176145" cy="1604981"/>
      </dsp:txXfrm>
    </dsp:sp>
    <dsp:sp modelId="{0178C06A-C094-4AB2-98F8-8A11B2722B2D}">
      <dsp:nvSpPr>
        <dsp:cNvPr id="0" name=""/>
        <dsp:cNvSpPr/>
      </dsp:nvSpPr>
      <dsp:spPr>
        <a:xfrm>
          <a:off x="2339356" y="3249618"/>
          <a:ext cx="8541369" cy="7460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latin typeface="+mj-lt"/>
            </a:rPr>
            <a:t>Class: 9:00 to 5:00 </a:t>
          </a:r>
          <a:endParaRPr lang="nb-NO" sz="3200" kern="1200">
            <a:latin typeface="+mj-lt"/>
          </a:endParaRPr>
        </a:p>
      </dsp:txBody>
      <dsp:txXfrm>
        <a:off x="2339356" y="3249618"/>
        <a:ext cx="8541369" cy="746065"/>
      </dsp:txXfrm>
    </dsp:sp>
    <dsp:sp modelId="{FD64291A-A272-4C8F-8A27-45712B644612}">
      <dsp:nvSpPr>
        <dsp:cNvPr id="0" name=""/>
        <dsp:cNvSpPr/>
      </dsp:nvSpPr>
      <dsp:spPr>
        <a:xfrm>
          <a:off x="2176145" y="3995684"/>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0D04B1C-2708-43A1-9CD2-5B8F87AEB2B1}">
      <dsp:nvSpPr>
        <dsp:cNvPr id="0" name=""/>
        <dsp:cNvSpPr/>
      </dsp:nvSpPr>
      <dsp:spPr>
        <a:xfrm>
          <a:off x="2339356" y="4032987"/>
          <a:ext cx="8541369" cy="7460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latin typeface="+mj-lt"/>
            </a:rPr>
            <a:t>Lunch: 12:00 to 1:00</a:t>
          </a:r>
          <a:endParaRPr lang="nb-NO" sz="3200" kern="1200">
            <a:latin typeface="+mj-lt"/>
          </a:endParaRPr>
        </a:p>
      </dsp:txBody>
      <dsp:txXfrm>
        <a:off x="2339356" y="4032987"/>
        <a:ext cx="8541369" cy="746065"/>
      </dsp:txXfrm>
    </dsp:sp>
    <dsp:sp modelId="{1C600022-327D-4144-8B09-DD636FE60752}">
      <dsp:nvSpPr>
        <dsp:cNvPr id="0" name=""/>
        <dsp:cNvSpPr/>
      </dsp:nvSpPr>
      <dsp:spPr>
        <a:xfrm>
          <a:off x="2176145" y="4779052"/>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5A15AF-01B5-43A0-89CF-223FC9AA3A84}">
      <dsp:nvSpPr>
        <dsp:cNvPr id="0" name=""/>
        <dsp:cNvSpPr/>
      </dsp:nvSpPr>
      <dsp:spPr>
        <a:xfrm>
          <a:off x="4090" y="104818"/>
          <a:ext cx="2459851" cy="65952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M365 Apps for the Enterprise</a:t>
          </a:r>
        </a:p>
      </dsp:txBody>
      <dsp:txXfrm>
        <a:off x="4090" y="104818"/>
        <a:ext cx="2459851" cy="659529"/>
      </dsp:txXfrm>
    </dsp:sp>
    <dsp:sp modelId="{F3E0113B-EF24-4C2C-85ED-9DDE31728328}">
      <dsp:nvSpPr>
        <dsp:cNvPr id="0" name=""/>
        <dsp:cNvSpPr/>
      </dsp:nvSpPr>
      <dsp:spPr>
        <a:xfrm>
          <a:off x="4090" y="764347"/>
          <a:ext cx="2459851" cy="3950483"/>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dirty="0"/>
            <a:t>Flexible pay-as-you-go, per-user licensing</a:t>
          </a:r>
          <a:endParaRPr lang="en-US" sz="1700" kern="1200" dirty="0"/>
        </a:p>
        <a:p>
          <a:pPr marL="171450" lvl="1" indent="-171450" algn="l" defTabSz="755650">
            <a:lnSpc>
              <a:spcPct val="90000"/>
            </a:lnSpc>
            <a:spcBef>
              <a:spcPct val="0"/>
            </a:spcBef>
            <a:spcAft>
              <a:spcPct val="15000"/>
            </a:spcAft>
            <a:buChar char="•"/>
          </a:pPr>
          <a:r>
            <a:rPr lang="en-US" sz="1700" kern="1200" baseline="0" dirty="0"/>
            <a:t>Office experience with services integration in Microsoft 365 </a:t>
          </a:r>
          <a:endParaRPr lang="en-US" sz="1700" kern="1200" dirty="0"/>
        </a:p>
        <a:p>
          <a:pPr marL="171450" lvl="1" indent="-171450" algn="l" defTabSz="755650">
            <a:lnSpc>
              <a:spcPct val="90000"/>
            </a:lnSpc>
            <a:spcBef>
              <a:spcPct val="0"/>
            </a:spcBef>
            <a:spcAft>
              <a:spcPct val="15000"/>
            </a:spcAft>
            <a:buChar char="•"/>
          </a:pPr>
          <a:r>
            <a:rPr lang="en-US" sz="1700" kern="1200" baseline="0"/>
            <a:t>Allows for activation on up to 5 devices + 5 mobile devices per each User SL </a:t>
          </a:r>
          <a:endParaRPr lang="en-US" sz="1700" kern="1200"/>
        </a:p>
      </dsp:txBody>
      <dsp:txXfrm>
        <a:off x="4090" y="764347"/>
        <a:ext cx="2459851" cy="3950483"/>
      </dsp:txXfrm>
    </dsp:sp>
    <dsp:sp modelId="{C2184013-2B63-46B5-950E-714BA5A7E50E}">
      <dsp:nvSpPr>
        <dsp:cNvPr id="0" name=""/>
        <dsp:cNvSpPr/>
      </dsp:nvSpPr>
      <dsp:spPr>
        <a:xfrm>
          <a:off x="2808321" y="104818"/>
          <a:ext cx="2459851" cy="65952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SharePoint Online</a:t>
          </a:r>
          <a:endParaRPr lang="en-US" sz="1700" kern="1200"/>
        </a:p>
      </dsp:txBody>
      <dsp:txXfrm>
        <a:off x="2808321" y="104818"/>
        <a:ext cx="2459851" cy="659529"/>
      </dsp:txXfrm>
    </dsp:sp>
    <dsp:sp modelId="{D65FD92D-BE24-45D5-B6A0-BC5E32B76C2B}">
      <dsp:nvSpPr>
        <dsp:cNvPr id="0" name=""/>
        <dsp:cNvSpPr/>
      </dsp:nvSpPr>
      <dsp:spPr>
        <a:xfrm>
          <a:off x="2808321" y="764347"/>
          <a:ext cx="2459851" cy="3950483"/>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Share and Search important documents, insights, </a:t>
          </a:r>
          <a:br>
            <a:rPr lang="en-US" sz="1700" kern="1200" baseline="0"/>
          </a:br>
          <a:r>
            <a:rPr lang="en-US" sz="1700" kern="1200" baseline="0"/>
            <a:t>and status with colleagues </a:t>
          </a:r>
          <a:endParaRPr lang="en-US" sz="1700" kern="1200"/>
        </a:p>
        <a:p>
          <a:pPr marL="171450" lvl="1" indent="-171450" algn="l" defTabSz="755650">
            <a:lnSpc>
              <a:spcPct val="90000"/>
            </a:lnSpc>
            <a:spcBef>
              <a:spcPct val="0"/>
            </a:spcBef>
            <a:spcAft>
              <a:spcPct val="15000"/>
            </a:spcAft>
            <a:buChar char="•"/>
          </a:pPr>
          <a:r>
            <a:rPr lang="en-US" sz="1700" kern="1200" baseline="0"/>
            <a:t>Default tenant storage of 1 TB + (10GB per user subscription)</a:t>
          </a:r>
          <a:endParaRPr lang="en-US" sz="1700" kern="1200"/>
        </a:p>
        <a:p>
          <a:pPr marL="171450" lvl="1" indent="-171450" algn="l" defTabSz="755650">
            <a:lnSpc>
              <a:spcPct val="90000"/>
            </a:lnSpc>
            <a:spcBef>
              <a:spcPct val="0"/>
            </a:spcBef>
            <a:spcAft>
              <a:spcPct val="15000"/>
            </a:spcAft>
            <a:buChar char="•"/>
          </a:pPr>
          <a:r>
            <a:rPr lang="en-US" sz="1700" kern="1200" baseline="0"/>
            <a:t>Unlimited OneDrive for Business storage per user (separate from the total tenant storage)</a:t>
          </a:r>
          <a:endParaRPr lang="en-US" sz="1700" kern="1200"/>
        </a:p>
      </dsp:txBody>
      <dsp:txXfrm>
        <a:off x="2808321" y="764347"/>
        <a:ext cx="2459851" cy="3950483"/>
      </dsp:txXfrm>
    </dsp:sp>
    <dsp:sp modelId="{774E8594-3E8D-4E5F-8570-7656E9996427}">
      <dsp:nvSpPr>
        <dsp:cNvPr id="0" name=""/>
        <dsp:cNvSpPr/>
      </dsp:nvSpPr>
      <dsp:spPr>
        <a:xfrm>
          <a:off x="5612552" y="104818"/>
          <a:ext cx="2459851" cy="65952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Exchange Online</a:t>
          </a:r>
          <a:endParaRPr lang="en-US" sz="1700" kern="1200"/>
        </a:p>
      </dsp:txBody>
      <dsp:txXfrm>
        <a:off x="5612552" y="104818"/>
        <a:ext cx="2459851" cy="659529"/>
      </dsp:txXfrm>
    </dsp:sp>
    <dsp:sp modelId="{FC2D515C-14D7-4172-AFAE-6E1BBC960219}">
      <dsp:nvSpPr>
        <dsp:cNvPr id="0" name=""/>
        <dsp:cNvSpPr/>
      </dsp:nvSpPr>
      <dsp:spPr>
        <a:xfrm>
          <a:off x="5612552" y="764347"/>
          <a:ext cx="2459851" cy="3950483"/>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100 GB Mailbox, with Outlook and Outlook on the Web</a:t>
          </a:r>
          <a:endParaRPr lang="en-US" sz="1700" kern="1200"/>
        </a:p>
        <a:p>
          <a:pPr marL="171450" lvl="1" indent="-171450" algn="l" defTabSz="755650">
            <a:lnSpc>
              <a:spcPct val="90000"/>
            </a:lnSpc>
            <a:spcBef>
              <a:spcPct val="0"/>
            </a:spcBef>
            <a:spcAft>
              <a:spcPct val="15000"/>
            </a:spcAft>
            <a:buChar char="•"/>
          </a:pPr>
          <a:r>
            <a:rPr lang="en-US" sz="1700" kern="1200" baseline="0"/>
            <a:t>Premium antivirus/antispam (Exchange Online Protection) and archiving with compliance capabilities</a:t>
          </a:r>
          <a:endParaRPr lang="en-US" sz="1700" kern="1200"/>
        </a:p>
        <a:p>
          <a:pPr marL="171450" lvl="1" indent="-171450" algn="l" defTabSz="755650">
            <a:lnSpc>
              <a:spcPct val="90000"/>
            </a:lnSpc>
            <a:spcBef>
              <a:spcPct val="0"/>
            </a:spcBef>
            <a:spcAft>
              <a:spcPct val="15000"/>
            </a:spcAft>
            <a:buChar char="•"/>
          </a:pPr>
          <a:r>
            <a:rPr lang="en-US" sz="1700" kern="1200" baseline="0"/>
            <a:t>Mobile email (BlackBerry, iPhone, Android, and Windows Phone)</a:t>
          </a:r>
          <a:endParaRPr lang="en-US" sz="1700" kern="1200"/>
        </a:p>
      </dsp:txBody>
      <dsp:txXfrm>
        <a:off x="5612552" y="764347"/>
        <a:ext cx="2459851" cy="3950483"/>
      </dsp:txXfrm>
    </dsp:sp>
    <dsp:sp modelId="{E84B0FD1-9DEB-49AD-89B3-23DDC895F8B7}">
      <dsp:nvSpPr>
        <dsp:cNvPr id="0" name=""/>
        <dsp:cNvSpPr/>
      </dsp:nvSpPr>
      <dsp:spPr>
        <a:xfrm>
          <a:off x="8416783" y="104818"/>
          <a:ext cx="2459851" cy="65952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Microsoft Teams</a:t>
          </a:r>
          <a:endParaRPr lang="en-US" sz="1700" kern="1200"/>
        </a:p>
      </dsp:txBody>
      <dsp:txXfrm>
        <a:off x="8416783" y="104818"/>
        <a:ext cx="2459851" cy="659529"/>
      </dsp:txXfrm>
    </dsp:sp>
    <dsp:sp modelId="{08E9A45E-8988-4A2B-959F-374148D966AB}">
      <dsp:nvSpPr>
        <dsp:cNvPr id="0" name=""/>
        <dsp:cNvSpPr/>
      </dsp:nvSpPr>
      <dsp:spPr>
        <a:xfrm>
          <a:off x="8416783" y="764347"/>
          <a:ext cx="2459851" cy="3950483"/>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Where chat, content, people, and tools live together, so your teams have instant access to everything they need</a:t>
          </a:r>
          <a:endParaRPr lang="en-US" sz="1700" kern="1200"/>
        </a:p>
        <a:p>
          <a:pPr marL="171450" lvl="1" indent="-171450" algn="l" defTabSz="755650">
            <a:lnSpc>
              <a:spcPct val="90000"/>
            </a:lnSpc>
            <a:spcBef>
              <a:spcPct val="0"/>
            </a:spcBef>
            <a:spcAft>
              <a:spcPct val="15000"/>
            </a:spcAft>
            <a:buChar char="•"/>
          </a:pPr>
          <a:r>
            <a:rPr lang="en-US" sz="1700" kern="1200" baseline="0"/>
            <a:t>Empower your workforce with Microsoft Teams to plan schedules, assign tasks and connect to other work-related apps and resources</a:t>
          </a:r>
          <a:endParaRPr lang="en-US" sz="1700" kern="1200"/>
        </a:p>
      </dsp:txBody>
      <dsp:txXfrm>
        <a:off x="8416783" y="764347"/>
        <a:ext cx="2459851" cy="395048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BA3EA-E6BC-4AD7-AE78-E4DEEDB61C96}">
      <dsp:nvSpPr>
        <dsp:cNvPr id="0" name=""/>
        <dsp:cNvSpPr/>
      </dsp:nvSpPr>
      <dsp:spPr>
        <a:xfrm>
          <a:off x="2701" y="576307"/>
          <a:ext cx="2142976" cy="128578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latin typeface="+mj-lt"/>
            </a:rPr>
            <a:t>Microsoft 365 Business </a:t>
          </a:r>
          <a:endParaRPr lang="en-US" sz="2400" kern="1200" dirty="0">
            <a:latin typeface="+mj-lt"/>
          </a:endParaRPr>
        </a:p>
      </dsp:txBody>
      <dsp:txXfrm>
        <a:off x="2701" y="576307"/>
        <a:ext cx="2142976" cy="1285785"/>
      </dsp:txXfrm>
    </dsp:sp>
    <dsp:sp modelId="{4D867058-4441-4147-879C-1EDFB507FE32}">
      <dsp:nvSpPr>
        <dsp:cNvPr id="0" name=""/>
        <dsp:cNvSpPr/>
      </dsp:nvSpPr>
      <dsp:spPr>
        <a:xfrm>
          <a:off x="2359975" y="576307"/>
          <a:ext cx="2142976" cy="128578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latin typeface="+mj-lt"/>
            </a:rPr>
            <a:t>Microsoft 365 Enterprise </a:t>
          </a:r>
          <a:endParaRPr lang="en-US" sz="2400" kern="1200" dirty="0">
            <a:latin typeface="+mj-lt"/>
          </a:endParaRPr>
        </a:p>
      </dsp:txBody>
      <dsp:txXfrm>
        <a:off x="2359975" y="576307"/>
        <a:ext cx="2142976" cy="1285785"/>
      </dsp:txXfrm>
    </dsp:sp>
    <dsp:sp modelId="{08353579-437E-41F7-A47C-D355455732E5}">
      <dsp:nvSpPr>
        <dsp:cNvPr id="0" name=""/>
        <dsp:cNvSpPr/>
      </dsp:nvSpPr>
      <dsp:spPr>
        <a:xfrm>
          <a:off x="4717248" y="576307"/>
          <a:ext cx="2142976" cy="128578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latin typeface="+mj-lt"/>
            </a:rPr>
            <a:t>Microsoft 365 Education </a:t>
          </a:r>
          <a:endParaRPr lang="en-US" sz="2400" kern="1200" dirty="0">
            <a:latin typeface="+mj-lt"/>
          </a:endParaRPr>
        </a:p>
      </dsp:txBody>
      <dsp:txXfrm>
        <a:off x="4717248" y="576307"/>
        <a:ext cx="2142976" cy="1285785"/>
      </dsp:txXfrm>
    </dsp:sp>
    <dsp:sp modelId="{0ED2883A-4C38-48F4-9E8D-7E633B219A5C}">
      <dsp:nvSpPr>
        <dsp:cNvPr id="0" name=""/>
        <dsp:cNvSpPr/>
      </dsp:nvSpPr>
      <dsp:spPr>
        <a:xfrm>
          <a:off x="7074522" y="576307"/>
          <a:ext cx="2142976" cy="128578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latin typeface="+mj-lt"/>
            </a:rPr>
            <a:t>Microsoft 365 Government </a:t>
          </a:r>
          <a:endParaRPr lang="en-US" sz="2400" kern="1200" dirty="0">
            <a:latin typeface="+mj-lt"/>
          </a:endParaRPr>
        </a:p>
      </dsp:txBody>
      <dsp:txXfrm>
        <a:off x="7074522" y="576307"/>
        <a:ext cx="2142976" cy="12857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12421A-38F7-4D99-A08E-34E52500E523}">
      <dsp:nvSpPr>
        <dsp:cNvPr id="0" name=""/>
        <dsp:cNvSpPr/>
      </dsp:nvSpPr>
      <dsp:spPr>
        <a:xfrm>
          <a:off x="2701" y="4807"/>
          <a:ext cx="2142976" cy="12857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Max 300 users</a:t>
          </a:r>
        </a:p>
      </dsp:txBody>
      <dsp:txXfrm>
        <a:off x="2701" y="4807"/>
        <a:ext cx="2142976" cy="1285785"/>
      </dsp:txXfrm>
    </dsp:sp>
    <dsp:sp modelId="{DD353486-1584-458A-B935-E24E1809E148}">
      <dsp:nvSpPr>
        <dsp:cNvPr id="0" name=""/>
        <dsp:cNvSpPr/>
      </dsp:nvSpPr>
      <dsp:spPr>
        <a:xfrm>
          <a:off x="2359975" y="4807"/>
          <a:ext cx="2142976" cy="12857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Unlimited users</a:t>
          </a:r>
        </a:p>
      </dsp:txBody>
      <dsp:txXfrm>
        <a:off x="2359975" y="4807"/>
        <a:ext cx="2142976" cy="1285785"/>
      </dsp:txXfrm>
    </dsp:sp>
    <dsp:sp modelId="{635AEDF3-EE41-48A9-8532-628E97676E8F}">
      <dsp:nvSpPr>
        <dsp:cNvPr id="0" name=""/>
        <dsp:cNvSpPr/>
      </dsp:nvSpPr>
      <dsp:spPr>
        <a:xfrm>
          <a:off x="4717248" y="4807"/>
          <a:ext cx="2142976" cy="12857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Unlimited users</a:t>
          </a:r>
        </a:p>
      </dsp:txBody>
      <dsp:txXfrm>
        <a:off x="4717248" y="4807"/>
        <a:ext cx="2142976" cy="1285785"/>
      </dsp:txXfrm>
    </dsp:sp>
    <dsp:sp modelId="{76C5D64D-34F9-408B-9FBE-8D459D2446F1}">
      <dsp:nvSpPr>
        <dsp:cNvPr id="0" name=""/>
        <dsp:cNvSpPr/>
      </dsp:nvSpPr>
      <dsp:spPr>
        <a:xfrm>
          <a:off x="7074522" y="4807"/>
          <a:ext cx="2142976" cy="12857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Unlimited users</a:t>
          </a:r>
        </a:p>
      </dsp:txBody>
      <dsp:txXfrm>
        <a:off x="7074522" y="4807"/>
        <a:ext cx="2142976" cy="128578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840707-9243-45D3-B512-4C2A5A52B0C3}">
      <dsp:nvSpPr>
        <dsp:cNvPr id="0" name=""/>
        <dsp:cNvSpPr/>
      </dsp:nvSpPr>
      <dsp:spPr>
        <a:xfrm>
          <a:off x="2162274"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baseline="0" dirty="0"/>
            <a:t>24 hours a day, seven days a week telephone support</a:t>
          </a:r>
          <a:endParaRPr lang="nb-NO" sz="2000" kern="1200" dirty="0"/>
        </a:p>
      </dsp:txBody>
      <dsp:txXfrm>
        <a:off x="2162274" y="828"/>
        <a:ext cx="2290304" cy="1374182"/>
      </dsp:txXfrm>
    </dsp:sp>
    <dsp:sp modelId="{046B443B-D932-49B1-84E4-52CBA4A57FEB}">
      <dsp:nvSpPr>
        <dsp:cNvPr id="0" name=""/>
        <dsp:cNvSpPr/>
      </dsp:nvSpPr>
      <dsp:spPr>
        <a:xfrm>
          <a:off x="4681609"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baseline="0" dirty="0"/>
            <a:t>In-product service requests</a:t>
          </a:r>
          <a:endParaRPr lang="nb-NO" sz="2000" kern="1200" dirty="0"/>
        </a:p>
      </dsp:txBody>
      <dsp:txXfrm>
        <a:off x="4681609" y="828"/>
        <a:ext cx="2290304" cy="1374182"/>
      </dsp:txXfrm>
    </dsp:sp>
    <dsp:sp modelId="{549A77D5-47EB-4596-B077-7923F51FA6BA}">
      <dsp:nvSpPr>
        <dsp:cNvPr id="0" name=""/>
        <dsp:cNvSpPr/>
      </dsp:nvSpPr>
      <dsp:spPr>
        <a:xfrm>
          <a:off x="7200944"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baseline="0" dirty="0"/>
            <a:t>TechNet and Community help</a:t>
          </a:r>
          <a:endParaRPr lang="nb-NO" sz="2000" kern="1200" dirty="0"/>
        </a:p>
      </dsp:txBody>
      <dsp:txXfrm>
        <a:off x="7200944" y="828"/>
        <a:ext cx="2290304" cy="13741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2FCEC5-6BBC-4319-9A60-DDA09A0790E5}">
      <dsp:nvSpPr>
        <dsp:cNvPr id="0" name=""/>
        <dsp:cNvSpPr/>
      </dsp:nvSpPr>
      <dsp:spPr>
        <a:xfrm>
          <a:off x="2162274"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Service health of Microsoft 365, Yammer, Microsoft Dynamics CRM, and Microsoft Intune cloud services</a:t>
          </a:r>
          <a:endParaRPr lang="nb-NO" sz="1600" kern="1200" dirty="0"/>
        </a:p>
      </dsp:txBody>
      <dsp:txXfrm>
        <a:off x="2162274" y="828"/>
        <a:ext cx="2290304" cy="1374182"/>
      </dsp:txXfrm>
    </dsp:sp>
    <dsp:sp modelId="{C712DF43-2B7C-478B-A4EE-B6C5BA1CC729}">
      <dsp:nvSpPr>
        <dsp:cNvPr id="0" name=""/>
        <dsp:cNvSpPr/>
      </dsp:nvSpPr>
      <dsp:spPr>
        <a:xfrm>
          <a:off x="4681609"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People who are assigned the global admin or service administrator role can view service health</a:t>
          </a:r>
          <a:endParaRPr lang="nb-NO" sz="1600" kern="1200" dirty="0"/>
        </a:p>
      </dsp:txBody>
      <dsp:txXfrm>
        <a:off x="4681609" y="828"/>
        <a:ext cx="2290304" cy="1374182"/>
      </dsp:txXfrm>
    </dsp:sp>
    <dsp:sp modelId="{9D76BF83-F0A2-45B2-9EE4-8C707569D2F8}">
      <dsp:nvSpPr>
        <dsp:cNvPr id="0" name=""/>
        <dsp:cNvSpPr/>
      </dsp:nvSpPr>
      <dsp:spPr>
        <a:xfrm>
          <a:off x="7200944"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Check Service health for any known issues and resolution</a:t>
          </a:r>
          <a:endParaRPr lang="nb-NO" sz="1600" kern="1200" dirty="0"/>
        </a:p>
      </dsp:txBody>
      <dsp:txXfrm>
        <a:off x="7200944" y="828"/>
        <a:ext cx="2290304" cy="137418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5E8EC5-12A8-4D80-BF2B-A667E82875D0}">
      <dsp:nvSpPr>
        <dsp:cNvPr id="0" name=""/>
        <dsp:cNvSpPr/>
      </dsp:nvSpPr>
      <dsp:spPr>
        <a:xfrm>
          <a:off x="2162274"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icrosoft 365 Message Center is used to post upcoming feature releases or issues.</a:t>
          </a:r>
        </a:p>
      </dsp:txBody>
      <dsp:txXfrm>
        <a:off x="2162274" y="828"/>
        <a:ext cx="2290304" cy="1374182"/>
      </dsp:txXfrm>
    </dsp:sp>
    <dsp:sp modelId="{7D0FA29C-CF93-4461-9714-6E7FD0F3CC63}">
      <dsp:nvSpPr>
        <dsp:cNvPr id="0" name=""/>
        <dsp:cNvSpPr/>
      </dsp:nvSpPr>
      <dsp:spPr>
        <a:xfrm>
          <a:off x="4681609"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ach post gives a high-level overview of a planned change and how it may affect users</a:t>
          </a:r>
        </a:p>
      </dsp:txBody>
      <dsp:txXfrm>
        <a:off x="4681609" y="828"/>
        <a:ext cx="2290304" cy="1374182"/>
      </dsp:txXfrm>
    </dsp:sp>
    <dsp:sp modelId="{F5AD6EC6-D142-4D21-B6E2-A8001731050C}">
      <dsp:nvSpPr>
        <dsp:cNvPr id="0" name=""/>
        <dsp:cNvSpPr/>
      </dsp:nvSpPr>
      <dsp:spPr>
        <a:xfrm>
          <a:off x="7200944"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Permissions</a:t>
          </a:r>
        </a:p>
        <a:p>
          <a:pPr marL="57150" lvl="1" indent="-57150" algn="l" defTabSz="400050">
            <a:lnSpc>
              <a:spcPct val="90000"/>
            </a:lnSpc>
            <a:spcBef>
              <a:spcPct val="0"/>
            </a:spcBef>
            <a:spcAft>
              <a:spcPct val="15000"/>
            </a:spcAft>
            <a:buChar char="•"/>
          </a:pPr>
          <a:r>
            <a:rPr lang="en-US" sz="900" kern="1200" dirty="0"/>
            <a:t>Users who have been assigned any admin role in Microsoft 365 can view Message center posts.</a:t>
          </a:r>
        </a:p>
        <a:p>
          <a:pPr marL="57150" lvl="1" indent="-57150" algn="l" defTabSz="400050">
            <a:lnSpc>
              <a:spcPct val="90000"/>
            </a:lnSpc>
            <a:spcBef>
              <a:spcPct val="0"/>
            </a:spcBef>
            <a:spcAft>
              <a:spcPct val="15000"/>
            </a:spcAft>
            <a:buChar char="•"/>
          </a:pPr>
          <a:r>
            <a:rPr lang="en-US" sz="900" kern="1200"/>
            <a:t>You can also assign the Message center reader role to users who should be able to read and share Message center posts without having any other admin privilege</a:t>
          </a:r>
        </a:p>
      </dsp:txBody>
      <dsp:txXfrm>
        <a:off x="7200944" y="828"/>
        <a:ext cx="2290304" cy="137418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7A9091-E232-4546-89D7-310771C81233}">
      <dsp:nvSpPr>
        <dsp:cNvPr id="0" name=""/>
        <dsp:cNvSpPr/>
      </dsp:nvSpPr>
      <dsp:spPr>
        <a:xfrm>
          <a:off x="2162274"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sv-SE" sz="1200" kern="1200" dirty="0"/>
            <a:t>Microsoft 365 Message Center is used to post</a:t>
          </a:r>
          <a:r>
            <a:rPr lang="en-US" sz="1200" b="0" i="0" kern="1200" dirty="0"/>
            <a:t> upcoming feature releases or issues.</a:t>
          </a:r>
          <a:endParaRPr lang="en-US" sz="1200" kern="1200" dirty="0"/>
        </a:p>
      </dsp:txBody>
      <dsp:txXfrm>
        <a:off x="2162274" y="828"/>
        <a:ext cx="2290304" cy="1374182"/>
      </dsp:txXfrm>
    </dsp:sp>
    <dsp:sp modelId="{E8C3B4F6-B1EA-49F3-99F2-73D1769DFDB6}">
      <dsp:nvSpPr>
        <dsp:cNvPr id="0" name=""/>
        <dsp:cNvSpPr/>
      </dsp:nvSpPr>
      <dsp:spPr>
        <a:xfrm>
          <a:off x="4681609"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dirty="0"/>
            <a:t>Each post gives a high-level overview of a planned change and how it may affect users</a:t>
          </a:r>
          <a:endParaRPr lang="en-US" sz="1200" kern="1200" dirty="0"/>
        </a:p>
      </dsp:txBody>
      <dsp:txXfrm>
        <a:off x="4681609" y="828"/>
        <a:ext cx="2290304" cy="1374182"/>
      </dsp:txXfrm>
    </dsp:sp>
    <dsp:sp modelId="{66F23593-1B7F-4C1C-A884-F2CBA9CF54A9}">
      <dsp:nvSpPr>
        <dsp:cNvPr id="0" name=""/>
        <dsp:cNvSpPr/>
      </dsp:nvSpPr>
      <dsp:spPr>
        <a:xfrm>
          <a:off x="7200944" y="828"/>
          <a:ext cx="2290304" cy="137418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b="0" i="0" kern="1200" dirty="0"/>
            <a:t>Permissions</a:t>
          </a:r>
          <a:endParaRPr lang="en-US" sz="1200" kern="1200" dirty="0"/>
        </a:p>
        <a:p>
          <a:pPr marL="57150" lvl="1" indent="-57150" algn="ctr" defTabSz="400050">
            <a:lnSpc>
              <a:spcPct val="90000"/>
            </a:lnSpc>
            <a:spcBef>
              <a:spcPct val="0"/>
            </a:spcBef>
            <a:spcAft>
              <a:spcPct val="15000"/>
            </a:spcAft>
            <a:buChar char="•"/>
          </a:pPr>
          <a:r>
            <a:rPr lang="en-US" sz="900" b="0" i="0" kern="1200" dirty="0"/>
            <a:t>Users who have been assigned any admin role in Microsoft 365 can view Message center posts.</a:t>
          </a:r>
          <a:endParaRPr lang="en-US" sz="900" kern="1200" dirty="0"/>
        </a:p>
        <a:p>
          <a:pPr marL="57150" lvl="1" indent="-57150" algn="ctr" defTabSz="400050">
            <a:lnSpc>
              <a:spcPct val="90000"/>
            </a:lnSpc>
            <a:spcBef>
              <a:spcPct val="0"/>
            </a:spcBef>
            <a:spcAft>
              <a:spcPct val="15000"/>
            </a:spcAft>
            <a:buChar char="•"/>
          </a:pPr>
          <a:r>
            <a:rPr lang="en-US" sz="900" b="0" i="0" kern="1200" dirty="0"/>
            <a:t>You can also assign the Message center reader role to users who should be able to read and share Message center posts without having any other admin privilege</a:t>
          </a:r>
          <a:endParaRPr lang="en-US" sz="900" kern="1200" dirty="0"/>
        </a:p>
      </dsp:txBody>
      <dsp:txXfrm>
        <a:off x="7200944" y="828"/>
        <a:ext cx="2290304" cy="137418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products.office.com/en-us/where-is-your-data-located"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o.microsoft.com/fwlink/p/?linkid=860047"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products.office.com/en-US/office-system-requirements/#Browsers-section"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products.office.com/en-us/business/office-365-trust-center-cloud-computing-security"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639768678"/>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400"/>
              </a:spcBef>
              <a:spcAft>
                <a:spcPts val="800"/>
              </a:spcAft>
              <a:buClrTx/>
              <a:buSzTx/>
              <a:buFontTx/>
              <a:buNone/>
              <a:tabLst/>
              <a:defRPr/>
            </a:pPr>
            <a:r>
              <a:rPr lang="sv-SE" dirty="0"/>
              <a:t>Visit </a:t>
            </a:r>
            <a:r>
              <a:rPr lang="sv-SE" dirty="0">
                <a:hlinkClick r:id="rId3"/>
              </a:rPr>
              <a:t>https://products.office.com/en-us/where-is-your-data-located</a:t>
            </a:r>
            <a:r>
              <a:rPr lang="sv-SE" dirty="0"/>
              <a:t> and demonstrate Datacenter map. </a:t>
            </a:r>
            <a:endParaRPr lang="en-SE" sz="1050" dirty="0">
              <a:gradFill>
                <a:gsLst>
                  <a:gs pos="2917">
                    <a:schemeClr val="tx1"/>
                  </a:gs>
                  <a:gs pos="30000">
                    <a:schemeClr val="tx1"/>
                  </a:gs>
                </a:gsLst>
                <a:lin ang="5400000" scaled="0"/>
              </a:gradFill>
            </a:endParaRPr>
          </a:p>
          <a:p>
            <a:endParaRPr lang="en-SE" dirty="0"/>
          </a:p>
        </p:txBody>
      </p:sp>
      <p:sp>
        <p:nvSpPr>
          <p:cNvPr id="4" name="Slide Number Placeholder 3"/>
          <p:cNvSpPr>
            <a:spLocks noGrp="1"/>
          </p:cNvSpPr>
          <p:nvPr>
            <p:ph type="sldNum" sz="quarter" idx="5"/>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69304686"/>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rmAutofit/>
          </a:bodyPr>
          <a:lstStyle/>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full details go https://www.microsoft.com/en-us/microsoft-365/enterprise/compare-office-365-plans </a:t>
            </a:r>
          </a:p>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749679920"/>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400"/>
              </a:spcBef>
              <a:spcAft>
                <a:spcPts val="800"/>
              </a:spcAft>
              <a:buClrTx/>
              <a:buSzTx/>
              <a:buFontTx/>
              <a:buNone/>
              <a:tabLst/>
              <a:defRPr/>
            </a:pPr>
            <a:r>
              <a:rPr lang="sv-SE" dirty="0"/>
              <a:t>Expectation from this slides is to spend some time on few key features and their existance in corresponding plans. Choose some features and highlight them.</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749705762"/>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a:t>
            </a:r>
            <a:r>
              <a:rPr lang="en-US" baseline="0" dirty="0"/>
              <a:t> 365 Roadmap: http://fasttrack.microsoft.com/roadmap</a:t>
            </a:r>
          </a:p>
          <a:p>
            <a:r>
              <a:rPr lang="en-US" baseline="0" dirty="0"/>
              <a:t>Office Blog: https://blogs.office.com/</a:t>
            </a:r>
          </a:p>
          <a:p>
            <a:r>
              <a:rPr lang="en-US" sz="1050" b="0" i="0" u="none" strike="noStrike" kern="1200" dirty="0">
                <a:solidFill>
                  <a:schemeClr val="tx1"/>
                </a:solidFill>
                <a:effectLst/>
                <a:latin typeface="Segoe UI" pitchFamily="34" charset="0"/>
                <a:ea typeface="Segoe UI" pitchFamily="34" charset="0"/>
                <a:cs typeface="Segoe UI" pitchFamily="34" charset="0"/>
                <a:hlinkClick r:id="rId3"/>
              </a:rPr>
              <a:t>Microsoft 365 </a:t>
            </a:r>
            <a:r>
              <a:rPr lang="en-US" sz="1050" b="0" i="0" u="none" strike="noStrike" kern="1200" dirty="0">
                <a:solidFill>
                  <a:schemeClr val="tx1"/>
                </a:solidFill>
                <a:effectLst/>
                <a:latin typeface="Segoe UI" pitchFamily="34" charset="0"/>
                <a:ea typeface="Segoe UI" pitchFamily="34" charset="0"/>
                <a:cs typeface="Segoe UI" pitchFamily="34" charset="0"/>
              </a:rPr>
              <a:t>space on the Microsoft Tech Community: </a:t>
            </a:r>
            <a:r>
              <a:rPr lang="en-US" baseline="0" dirty="0"/>
              <a:t>https://go.microsoft.com/fwlink/p/?linkid=860047</a:t>
            </a:r>
          </a:p>
          <a:p>
            <a:endParaRPr lang="sv-SE" baseline="0" dirty="0"/>
          </a:p>
          <a:p>
            <a:endParaRPr lang="sv-SE" baseline="0" dirty="0"/>
          </a:p>
          <a:p>
            <a:pPr marL="0" marR="0" lvl="0" indent="0" algn="l" defTabSz="609585" rtl="0" eaLnBrk="1" fontAlgn="auto" latinLnBrk="0" hangingPunct="1">
              <a:lnSpc>
                <a:spcPct val="100000"/>
              </a:lnSpc>
              <a:spcBef>
                <a:spcPts val="400"/>
              </a:spcBef>
              <a:spcAft>
                <a:spcPts val="800"/>
              </a:spcAft>
              <a:buClrTx/>
              <a:buSzTx/>
              <a:buFontTx/>
              <a:buNone/>
              <a:tabLst/>
              <a:defRPr/>
            </a:pPr>
            <a:r>
              <a:rPr lang="en-US" sz="1050" dirty="0"/>
              <a:t>https://technet.microsoft.com/en-us/library/mt584223.aspx</a:t>
            </a:r>
          </a:p>
          <a:p>
            <a:endParaRPr lang="en-US" baseline="0" dirty="0"/>
          </a:p>
          <a:p>
            <a:endParaRPr lang="en-US" baseline="0"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227732492"/>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859124462"/>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rmAutofit fontScale="92500" lnSpcReduction="10000"/>
          </a:bodyPr>
          <a:lstStyle/>
          <a:p>
            <a:r>
              <a:rPr lang="en-US" sz="1050" b="0" i="0" kern="1200" dirty="0">
                <a:solidFill>
                  <a:schemeClr val="tx1"/>
                </a:solidFill>
                <a:effectLst/>
                <a:latin typeface="Segoe UI" pitchFamily="34" charset="0"/>
                <a:ea typeface="Segoe UI" pitchFamily="34" charset="0"/>
                <a:cs typeface="Segoe UI" pitchFamily="34" charset="0"/>
              </a:rPr>
              <a:t>You can view the health of following services on the Microsoft 365 ** Service health ** page in the admin center. </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Microsoft 365, </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Yammer, </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Microsoft Dynamics CRM, and </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Microsoft Intune cloud services </a:t>
            </a:r>
          </a:p>
          <a:p>
            <a:pPr marL="0" indent="0">
              <a:buFont typeface="Arial" panose="020B0604020202020204" pitchFamily="34" charset="0"/>
              <a:buNone/>
            </a:pPr>
            <a:endParaRPr lang="en-US" sz="1050" b="0" i="0" kern="1200" dirty="0">
              <a:solidFill>
                <a:schemeClr val="tx1"/>
              </a:solidFill>
              <a:effectLst/>
              <a:latin typeface="Segoe UI" pitchFamily="34" charset="0"/>
              <a:ea typeface="Segoe UI" pitchFamily="34" charset="0"/>
              <a:cs typeface="Segoe UI" pitchFamily="34" charset="0"/>
            </a:endParaRPr>
          </a:p>
          <a:p>
            <a:pPr marL="0" indent="0">
              <a:buFont typeface="Arial" panose="020B0604020202020204" pitchFamily="34" charset="0"/>
              <a:buNone/>
            </a:pPr>
            <a:r>
              <a:rPr lang="en-US" sz="1050" b="0" i="0" kern="1200" dirty="0">
                <a:solidFill>
                  <a:schemeClr val="tx1"/>
                </a:solidFill>
                <a:effectLst/>
                <a:latin typeface="Segoe UI" pitchFamily="34" charset="0"/>
                <a:ea typeface="Segoe UI" pitchFamily="34" charset="0"/>
                <a:cs typeface="Segoe UI" pitchFamily="34" charset="0"/>
              </a:rPr>
              <a:t>If you are experiencing problems with a cloud service, you can check the service health to determine whether this is a known issue with a resolution in progress before you call support or spend time troubleshooting.</a:t>
            </a:r>
          </a:p>
          <a:p>
            <a:pPr marL="0" indent="0">
              <a:buFont typeface="Arial" panose="020B0604020202020204" pitchFamily="34" charset="0"/>
              <a:buNone/>
            </a:pPr>
            <a:endParaRPr lang="sv-SE" sz="1050" b="0" i="0" kern="1200" dirty="0">
              <a:solidFill>
                <a:schemeClr val="tx1"/>
              </a:solidFill>
              <a:effectLst/>
              <a:latin typeface="Segoe UI" pitchFamily="34" charset="0"/>
              <a:cs typeface="Segoe UI" pitchFamily="34" charset="0"/>
            </a:endParaRPr>
          </a:p>
          <a:p>
            <a:r>
              <a:rPr lang="en-US" sz="1050" b="1" i="0" kern="1200" dirty="0">
                <a:solidFill>
                  <a:schemeClr val="tx1"/>
                </a:solidFill>
                <a:effectLst/>
                <a:latin typeface="Segoe UI" pitchFamily="34" charset="0"/>
                <a:ea typeface="Segoe UI" pitchFamily="34" charset="0"/>
                <a:cs typeface="Segoe UI" pitchFamily="34" charset="0"/>
              </a:rPr>
              <a:t>Incidents and advisories</a:t>
            </a:r>
          </a:p>
          <a:p>
            <a:endParaRPr lang="en-US" dirty="0"/>
          </a:p>
          <a:p>
            <a:r>
              <a:rPr lang="en-US" b="1" dirty="0"/>
              <a:t>Advisory</a:t>
            </a:r>
            <a:br>
              <a:rPr lang="en-US" dirty="0"/>
            </a:br>
            <a:r>
              <a:rPr lang="en-US" dirty="0">
                <a:effectLst/>
              </a:rPr>
              <a:t>If a service has an advisory shown, we are aware of a problem that is affecting some users, but the service is still available. In an advisory, there is often a workaround to the problem and the problem may be intermittent or is limited in scope and user impact. </a:t>
            </a:r>
            <a:endParaRPr lang="en-US" sz="1050" b="0" i="0" kern="1200" dirty="0">
              <a:solidFill>
                <a:schemeClr val="tx1"/>
              </a:solidFill>
              <a:effectLst/>
              <a:latin typeface="Segoe UI" pitchFamily="34" charset="0"/>
              <a:ea typeface="Segoe UI" pitchFamily="34" charset="0"/>
              <a:cs typeface="Segoe UI" pitchFamily="34" charset="0"/>
            </a:endParaRPr>
          </a:p>
          <a:p>
            <a:endParaRPr lang="sv-SE" dirty="0"/>
          </a:p>
          <a:p>
            <a:r>
              <a:rPr lang="sv-SE" b="1" dirty="0"/>
              <a:t>Incedents</a:t>
            </a:r>
          </a:p>
          <a:p>
            <a:r>
              <a:rPr lang="en-US" sz="1050" b="0" i="0" kern="1200" dirty="0">
                <a:solidFill>
                  <a:schemeClr val="tx1"/>
                </a:solidFill>
                <a:effectLst/>
                <a:latin typeface="Segoe UI" pitchFamily="34" charset="0"/>
                <a:ea typeface="Segoe UI" pitchFamily="34" charset="0"/>
                <a:cs typeface="Segoe UI" pitchFamily="34" charset="0"/>
              </a:rPr>
              <a:t>If a service has an active incident shown, it's a critical issue and the service or a major function of the service is unavailable. For example, users may be unable to send and receive email or unable to sign-in. Incidents will have noticeable impact to users. When there is an incident in progress, we will provide updates regarding the investigation, mitigation efforts, and confirmation of resolution in the Service health dashboard. </a:t>
            </a:r>
            <a:endParaRPr lang="en-US" dirty="0"/>
          </a:p>
          <a:p>
            <a:pPr marL="0" indent="0">
              <a:buFont typeface="Arial" panose="020B0604020202020204" pitchFamily="34" charset="0"/>
              <a:buNone/>
            </a:pPr>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783168256"/>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rmAutofit/>
          </a:bodyPr>
          <a:lstStyle/>
          <a:p>
            <a:r>
              <a:rPr lang="en-US" sz="1050" b="0" i="0" kern="1200" dirty="0">
                <a:solidFill>
                  <a:schemeClr val="tx1"/>
                </a:solidFill>
                <a:effectLst/>
                <a:latin typeface="Segoe UI" pitchFamily="34" charset="0"/>
                <a:ea typeface="Segoe UI" pitchFamily="34" charset="0"/>
                <a:cs typeface="Segoe UI" pitchFamily="34" charset="0"/>
              </a:rPr>
              <a:t>The advisory or incident summary provides the following information:</a:t>
            </a:r>
          </a:p>
          <a:p>
            <a:pPr marL="228600" indent="-228600">
              <a:buFont typeface="+mj-lt"/>
              <a:buAutoNum type="arabicPeriod"/>
            </a:pPr>
            <a:r>
              <a:rPr lang="en-US" sz="1050" b="0" i="0" kern="1200" dirty="0">
                <a:solidFill>
                  <a:schemeClr val="tx1"/>
                </a:solidFill>
                <a:effectLst/>
                <a:latin typeface="Segoe UI" pitchFamily="34" charset="0"/>
                <a:ea typeface="Segoe UI" pitchFamily="34" charset="0"/>
                <a:cs typeface="Segoe UI" pitchFamily="34" charset="0"/>
              </a:rPr>
              <a:t>An issue identifier and summary statement of the problem.</a:t>
            </a:r>
          </a:p>
          <a:p>
            <a:pPr marL="228600" indent="-228600">
              <a:buFont typeface="+mj-lt"/>
              <a:buAutoNum type="arabicPeriod"/>
            </a:pPr>
            <a:r>
              <a:rPr lang="en-US" sz="1050" b="0" i="0" kern="1200" dirty="0">
                <a:solidFill>
                  <a:schemeClr val="tx1"/>
                </a:solidFill>
                <a:effectLst/>
                <a:latin typeface="Segoe UI" pitchFamily="34" charset="0"/>
                <a:ea typeface="Segoe UI" pitchFamily="34" charset="0"/>
                <a:cs typeface="Segoe UI" pitchFamily="34" charset="0"/>
              </a:rPr>
              <a:t>The current status. See status definitions in this article for an explanation of each potential status.</a:t>
            </a:r>
          </a:p>
          <a:p>
            <a:pPr marL="228600" indent="-228600">
              <a:buFont typeface="+mj-lt"/>
              <a:buAutoNum type="arabicPeriod"/>
            </a:pPr>
            <a:r>
              <a:rPr lang="en-US" sz="1050" b="0" i="0" kern="1200" dirty="0">
                <a:solidFill>
                  <a:schemeClr val="tx1"/>
                </a:solidFill>
                <a:effectLst/>
                <a:latin typeface="Segoe UI" pitchFamily="34" charset="0"/>
                <a:ea typeface="Segoe UI" pitchFamily="34" charset="0"/>
                <a:cs typeface="Segoe UI" pitchFamily="34" charset="0"/>
              </a:rPr>
              <a:t>A description of how this issue can affect users.</a:t>
            </a:r>
          </a:p>
          <a:p>
            <a:pPr marL="228600" indent="-228600">
              <a:buFont typeface="+mj-lt"/>
              <a:buAutoNum type="arabicPeriod"/>
            </a:pPr>
            <a:r>
              <a:rPr lang="en-US" sz="1050" b="0" i="0" kern="1200" dirty="0">
                <a:solidFill>
                  <a:schemeClr val="tx1"/>
                </a:solidFill>
                <a:effectLst/>
                <a:latin typeface="Segoe UI" pitchFamily="34" charset="0"/>
                <a:ea typeface="Segoe UI" pitchFamily="34" charset="0"/>
                <a:cs typeface="Segoe UI" pitchFamily="34" charset="0"/>
              </a:rPr>
              <a:t>The time that the issue was started and the last time that the service health message was updated. Throughout the duration of an issue we post frequent messages to let you know the progress that we're making in applying a solution.</a:t>
            </a:r>
          </a:p>
          <a:p>
            <a:pPr marL="228600" indent="-228600">
              <a:buFont typeface="+mj-lt"/>
              <a:buAutoNum type="arabicPeriod"/>
            </a:pPr>
            <a:r>
              <a:rPr lang="en-US" sz="1050" b="0" i="0" kern="1200" dirty="0">
                <a:solidFill>
                  <a:schemeClr val="tx1"/>
                </a:solidFill>
                <a:effectLst/>
                <a:latin typeface="Segoe UI" pitchFamily="34" charset="0"/>
                <a:ea typeface="Segoe UI" pitchFamily="34" charset="0"/>
                <a:cs typeface="Segoe UI" pitchFamily="34" charset="0"/>
              </a:rPr>
              <a:t>Select the </a:t>
            </a:r>
            <a:r>
              <a:rPr lang="en-US" sz="1050" b="1" i="0" kern="1200" dirty="0">
                <a:solidFill>
                  <a:schemeClr val="tx1"/>
                </a:solidFill>
                <a:effectLst/>
                <a:latin typeface="Segoe UI" pitchFamily="34" charset="0"/>
                <a:ea typeface="Segoe UI" pitchFamily="34" charset="0"/>
                <a:cs typeface="Segoe UI" pitchFamily="34" charset="0"/>
              </a:rPr>
              <a:t>Show details</a:t>
            </a:r>
            <a:r>
              <a:rPr lang="en-US" sz="1050" b="0" i="0" kern="1200" dirty="0">
                <a:solidFill>
                  <a:schemeClr val="tx1"/>
                </a:solidFill>
                <a:effectLst/>
                <a:latin typeface="Segoe UI" pitchFamily="34" charset="0"/>
                <a:ea typeface="Segoe UI" pitchFamily="34" charset="0"/>
                <a:cs typeface="Segoe UI" pitchFamily="34" charset="0"/>
              </a:rPr>
              <a:t> link to see more details about the issue, including the history of all messages posted while we work on a solution.</a:t>
            </a:r>
          </a:p>
          <a:p>
            <a:pPr marL="228600" indent="-228600">
              <a:buFont typeface="+mj-lt"/>
              <a:buAutoNum type="arabicPeriod"/>
            </a:pPr>
            <a:endParaRPr lang="sv-SE" sz="1050" b="0" i="0" kern="1200" dirty="0">
              <a:solidFill>
                <a:schemeClr val="tx1"/>
              </a:solidFill>
              <a:effectLst/>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95856014"/>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rmAutofit fontScale="70000" lnSpcReduction="20000"/>
          </a:bodyPr>
          <a:lstStyle/>
          <a:p>
            <a:pPr marL="0" indent="0">
              <a:buFont typeface="Arial" panose="020B0604020202020204" pitchFamily="34" charset="0"/>
              <a:buNone/>
            </a:pPr>
            <a:r>
              <a:rPr lang="en-US" sz="1050" b="0" i="0" kern="1200" dirty="0">
                <a:solidFill>
                  <a:schemeClr val="tx1"/>
                </a:solidFill>
                <a:effectLst/>
                <a:latin typeface="Segoe UI" pitchFamily="34" charset="0"/>
                <a:ea typeface="Segoe UI" pitchFamily="34" charset="0"/>
                <a:cs typeface="Segoe UI" pitchFamily="34" charset="0"/>
              </a:rPr>
              <a:t>To keep track of upcoming feature releases or issues, go to Message center. That's where we post official announcements about new and changed features to enable you to take a proactive approach to change management. </a:t>
            </a:r>
          </a:p>
          <a:p>
            <a:pPr marL="0" indent="0">
              <a:buFont typeface="Arial" panose="020B0604020202020204" pitchFamily="34" charset="0"/>
              <a:buNone/>
            </a:pPr>
            <a:endParaRPr lang="en-US" sz="1050" b="0" i="0" kern="1200" dirty="0">
              <a:solidFill>
                <a:schemeClr val="tx1"/>
              </a:solidFill>
              <a:effectLst/>
              <a:latin typeface="Segoe UI" pitchFamily="34" charset="0"/>
              <a:ea typeface="Segoe UI" pitchFamily="34" charset="0"/>
              <a:cs typeface="Segoe UI" pitchFamily="34" charset="0"/>
            </a:endParaRPr>
          </a:p>
          <a:p>
            <a:pPr marL="0" indent="0">
              <a:buFont typeface="Arial" panose="020B0604020202020204" pitchFamily="34" charset="0"/>
              <a:buNone/>
            </a:pPr>
            <a:r>
              <a:rPr lang="en-US" sz="1050" b="0" i="0" kern="1200" dirty="0">
                <a:solidFill>
                  <a:schemeClr val="tx1"/>
                </a:solidFill>
                <a:effectLst/>
                <a:latin typeface="Segoe UI" pitchFamily="34" charset="0"/>
                <a:ea typeface="Segoe UI" pitchFamily="34" charset="0"/>
                <a:cs typeface="Segoe UI" pitchFamily="34" charset="0"/>
              </a:rPr>
              <a:t>Each post gives you a high-level overview of a planned change and how it may affect your users, and links out to more detailed information to help you prepare.</a:t>
            </a:r>
          </a:p>
          <a:p>
            <a:pPr marL="0" indent="0">
              <a:buFont typeface="Arial" panose="020B0604020202020204" pitchFamily="34" charset="0"/>
              <a:buNone/>
            </a:pPr>
            <a:endParaRPr lang="sv-SE" sz="1050" b="0" i="0" kern="1200" dirty="0">
              <a:solidFill>
                <a:schemeClr val="tx1"/>
              </a:solidFill>
              <a:effectLst/>
              <a:latin typeface="Segoe UI" pitchFamily="34" charset="0"/>
              <a:ea typeface="Segoe UI" pitchFamily="34" charset="0"/>
              <a:cs typeface="Segoe UI" pitchFamily="34" charset="0"/>
            </a:endParaRPr>
          </a:p>
          <a:p>
            <a:pPr marL="0" indent="0">
              <a:buFont typeface="Arial" panose="020B0604020202020204" pitchFamily="34" charset="0"/>
              <a:buNone/>
            </a:pPr>
            <a:r>
              <a:rPr lang="en-US" sz="1050" b="1" i="0" kern="1200" dirty="0">
                <a:solidFill>
                  <a:schemeClr val="tx1"/>
                </a:solidFill>
                <a:effectLst/>
                <a:latin typeface="Segoe UI" pitchFamily="34" charset="0"/>
                <a:ea typeface="Segoe UI" pitchFamily="34" charset="0"/>
                <a:cs typeface="Segoe UI" pitchFamily="34" charset="0"/>
              </a:rPr>
              <a:t>High Importance Updates</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Because </a:t>
            </a:r>
            <a:r>
              <a:rPr lang="en-US" sz="1050" b="1" i="0" kern="1200" dirty="0">
                <a:solidFill>
                  <a:schemeClr val="tx1"/>
                </a:solidFill>
                <a:effectLst/>
                <a:latin typeface="Segoe UI" pitchFamily="34" charset="0"/>
                <a:ea typeface="Segoe UI" pitchFamily="34" charset="0"/>
                <a:cs typeface="Segoe UI" pitchFamily="34" charset="0"/>
              </a:rPr>
              <a:t>High Importance updates</a:t>
            </a:r>
            <a:r>
              <a:rPr lang="en-US" sz="1050" b="0" i="0" kern="1200" dirty="0">
                <a:solidFill>
                  <a:schemeClr val="tx1"/>
                </a:solidFill>
                <a:effectLst/>
                <a:latin typeface="Segoe UI" pitchFamily="34" charset="0"/>
                <a:ea typeface="Segoe UI" pitchFamily="34" charset="0"/>
                <a:cs typeface="Segoe UI" pitchFamily="34" charset="0"/>
              </a:rPr>
              <a:t> are most impactful to your organization, they are highlighted at the top of the Message center as shown in this graphic</a:t>
            </a:r>
          </a:p>
          <a:p>
            <a:pPr marL="171450" indent="-171450">
              <a:buFont typeface="Arial" panose="020B0604020202020204" pitchFamily="34" charset="0"/>
              <a:buChar char="•"/>
            </a:pPr>
            <a:r>
              <a:rPr lang="en-US" sz="1050" b="1" i="0" kern="1200" dirty="0">
                <a:solidFill>
                  <a:schemeClr val="tx1"/>
                </a:solidFill>
                <a:effectLst/>
                <a:latin typeface="Segoe UI" pitchFamily="34" charset="0"/>
                <a:ea typeface="Segoe UI" pitchFamily="34" charset="0"/>
                <a:cs typeface="Segoe UI" pitchFamily="34" charset="0"/>
              </a:rPr>
              <a:t>High Importance </a:t>
            </a:r>
            <a:r>
              <a:rPr lang="en-US" sz="1050" b="0" i="0" kern="1200" dirty="0">
                <a:solidFill>
                  <a:schemeClr val="tx1"/>
                </a:solidFill>
                <a:effectLst/>
                <a:latin typeface="Segoe UI" pitchFamily="34" charset="0"/>
                <a:ea typeface="Segoe UI" pitchFamily="34" charset="0"/>
                <a:cs typeface="Segoe UI" pitchFamily="34" charset="0"/>
              </a:rPr>
              <a:t>updates are communicated at least 30 days in advance when an action is required.</a:t>
            </a:r>
          </a:p>
          <a:p>
            <a:pPr marL="171450" indent="-171450">
              <a:buFont typeface="Arial" panose="020B0604020202020204" pitchFamily="34" charset="0"/>
              <a:buChar char="•"/>
            </a:pPr>
            <a:r>
              <a:rPr lang="en-US" sz="1050" b="1" i="0" kern="1200" dirty="0">
                <a:solidFill>
                  <a:schemeClr val="tx1"/>
                </a:solidFill>
                <a:effectLst/>
                <a:latin typeface="Segoe UI" pitchFamily="34" charset="0"/>
                <a:ea typeface="Segoe UI" pitchFamily="34" charset="0"/>
                <a:cs typeface="Segoe UI" pitchFamily="34" charset="0"/>
              </a:rPr>
              <a:t>High Importance </a:t>
            </a:r>
            <a:r>
              <a:rPr lang="en-US" sz="1050" b="0" i="0" kern="1200" dirty="0">
                <a:solidFill>
                  <a:schemeClr val="tx1"/>
                </a:solidFill>
                <a:effectLst/>
                <a:latin typeface="Segoe UI" pitchFamily="34" charset="0"/>
                <a:ea typeface="Segoe UI" pitchFamily="34" charset="0"/>
                <a:cs typeface="Segoe UI" pitchFamily="34" charset="0"/>
              </a:rPr>
              <a:t>updates are defined as:</a:t>
            </a:r>
          </a:p>
          <a:p>
            <a:pPr marL="781035" lvl="1"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Changes to daily productivity such as inbox, meetings, delegations, sharing and access</a:t>
            </a:r>
          </a:p>
          <a:p>
            <a:pPr marL="781035" lvl="1"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Changes to the themes, web parts, and other components that may affect customized features</a:t>
            </a:r>
          </a:p>
          <a:p>
            <a:pPr marL="781035" lvl="1"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Increases or decreases to visible capacity such as storage, number of rules, items or durations</a:t>
            </a:r>
          </a:p>
          <a:p>
            <a:pPr marL="781035" lvl="1"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Changes to product branding that may:</a:t>
            </a:r>
          </a:p>
          <a:p>
            <a:pPr marL="1390620" lvl="2"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Cause end user confusion,</a:t>
            </a:r>
          </a:p>
          <a:p>
            <a:pPr marL="1390620" lvl="2"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Result in changes to help desk processes and reference material, or</a:t>
            </a:r>
          </a:p>
          <a:p>
            <a:pPr marL="1390620" lvl="2"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Change a URL</a:t>
            </a:r>
          </a:p>
          <a:p>
            <a:pPr marL="781035" lvl="1"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A new service or application</a:t>
            </a:r>
          </a:p>
          <a:p>
            <a:pPr marL="781035" lvl="1"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Changes requiring an admin action (exclusive of prevent or fix issues)</a:t>
            </a:r>
          </a:p>
          <a:p>
            <a:pPr marL="781035" lvl="1"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Changes to where your data is stored</a:t>
            </a:r>
          </a:p>
          <a:p>
            <a:pPr marL="781035" lvl="1" indent="-171450">
              <a:buFont typeface="Arial" panose="020B0604020202020204" pitchFamily="34" charset="0"/>
              <a:buChar char="•"/>
            </a:pPr>
            <a:endParaRPr lang="en-US" sz="1050" b="0" i="0" kern="1200" dirty="0">
              <a:solidFill>
                <a:schemeClr val="tx1"/>
              </a:solidFill>
              <a:effectLst/>
              <a:latin typeface="Segoe UI" pitchFamily="34" charset="0"/>
              <a:ea typeface="Segoe UI" pitchFamily="34" charset="0"/>
              <a:cs typeface="Segoe UI" pitchFamily="34" charset="0"/>
            </a:endParaRPr>
          </a:p>
          <a:p>
            <a:pPr fontAlgn="t"/>
            <a:r>
              <a:rPr lang="en-US" sz="1050" b="1" kern="1200" dirty="0">
                <a:solidFill>
                  <a:schemeClr val="tx1"/>
                </a:solidFill>
                <a:effectLst/>
                <a:latin typeface="Segoe UI" pitchFamily="34" charset="0"/>
                <a:ea typeface="Segoe UI" pitchFamily="34" charset="0"/>
                <a:cs typeface="Segoe UI" pitchFamily="34" charset="0"/>
              </a:rPr>
              <a:t>Categories</a:t>
            </a:r>
          </a:p>
          <a:p>
            <a:pPr fontAlgn="t"/>
            <a:r>
              <a:rPr lang="en-US" sz="1050" kern="1200" dirty="0">
                <a:solidFill>
                  <a:schemeClr val="tx1"/>
                </a:solidFill>
                <a:effectLst/>
                <a:latin typeface="Segoe UI" pitchFamily="34" charset="0"/>
                <a:ea typeface="Segoe UI" pitchFamily="34" charset="0"/>
                <a:cs typeface="Segoe UI" pitchFamily="34" charset="0"/>
              </a:rPr>
              <a:t>Messages are identified by one of the three following categories:</a:t>
            </a:r>
          </a:p>
          <a:p>
            <a:pPr fontAlgn="t"/>
            <a:r>
              <a:rPr lang="en-US" sz="1050" b="1" kern="1200" dirty="0">
                <a:solidFill>
                  <a:schemeClr val="tx1"/>
                </a:solidFill>
                <a:effectLst/>
                <a:latin typeface="Segoe UI" pitchFamily="34" charset="0"/>
                <a:ea typeface="Segoe UI" pitchFamily="34" charset="0"/>
                <a:cs typeface="Segoe UI" pitchFamily="34" charset="0"/>
              </a:rPr>
              <a:t>Prevent or fix issues</a:t>
            </a:r>
            <a:r>
              <a:rPr lang="en-US" sz="1050" kern="1200" dirty="0">
                <a:solidFill>
                  <a:schemeClr val="tx1"/>
                </a:solidFill>
                <a:effectLst/>
                <a:latin typeface="Segoe UI" pitchFamily="34" charset="0"/>
                <a:ea typeface="Segoe UI" pitchFamily="34" charset="0"/>
                <a:cs typeface="Segoe UI" pitchFamily="34" charset="0"/>
              </a:rPr>
              <a:t>: These messages inform you of known issues impacting your organization and may require that you take action to avoid disruptions in service. Prevent or fix issues are different than Service health messages because they prompt you to be proactive to avoid issues.</a:t>
            </a:r>
          </a:p>
          <a:p>
            <a:pPr fontAlgn="t"/>
            <a:r>
              <a:rPr lang="en-US" sz="1050" b="1" kern="1200" dirty="0">
                <a:solidFill>
                  <a:schemeClr val="tx1"/>
                </a:solidFill>
                <a:effectLst/>
                <a:latin typeface="Segoe UI" pitchFamily="34" charset="0"/>
                <a:ea typeface="Segoe UI" pitchFamily="34" charset="0"/>
                <a:cs typeface="Segoe UI" pitchFamily="34" charset="0"/>
              </a:rPr>
              <a:t>Plan for change</a:t>
            </a:r>
            <a:r>
              <a:rPr lang="en-US" sz="1050" kern="1200" dirty="0">
                <a:solidFill>
                  <a:schemeClr val="tx1"/>
                </a:solidFill>
                <a:effectLst/>
                <a:latin typeface="Segoe UI" pitchFamily="34" charset="0"/>
                <a:ea typeface="Segoe UI" pitchFamily="34" charset="0"/>
                <a:cs typeface="Segoe UI" pitchFamily="34" charset="0"/>
              </a:rPr>
              <a:t>: These messages inform you of changes to Microsoft 365 that may require you to act to avoid disruptions in service. For example, we’ll let you know about changes to system requirements or about features that are being removed. We try to provide at least 30 days’ notice of any change that requires an admin to act to keep the service running normally.</a:t>
            </a:r>
          </a:p>
          <a:p>
            <a:pPr fontAlgn="t"/>
            <a:r>
              <a:rPr lang="en-US" sz="1050" b="1" kern="1200" dirty="0">
                <a:solidFill>
                  <a:schemeClr val="tx1"/>
                </a:solidFill>
                <a:effectLst/>
                <a:latin typeface="Segoe UI" pitchFamily="34" charset="0"/>
                <a:ea typeface="Segoe UI" pitchFamily="34" charset="0"/>
                <a:cs typeface="Segoe UI" pitchFamily="34" charset="0"/>
              </a:rPr>
              <a:t>Stay informed</a:t>
            </a:r>
            <a:r>
              <a:rPr lang="en-US" sz="1050" kern="1200" dirty="0">
                <a:solidFill>
                  <a:schemeClr val="tx1"/>
                </a:solidFill>
                <a:effectLst/>
                <a:latin typeface="Segoe UI" pitchFamily="34" charset="0"/>
                <a:ea typeface="Segoe UI" pitchFamily="34" charset="0"/>
                <a:cs typeface="Segoe UI" pitchFamily="34" charset="0"/>
              </a:rPr>
              <a:t>: This is where we tell you about new or updated features that we are turning on in your organization. The features are usually announced first in the Office Roadmap. Stay informed messages may also let you know about planned maintenance in accordance with our Service Level Agreement. Planned maintenance may result in down time, where you or your users can’t access Microsoft 365, a specific feature, or a service such as email or OneDrive for Business.</a:t>
            </a:r>
          </a:p>
          <a:p>
            <a:pPr fontAlgn="t"/>
            <a:endParaRPr lang="sv-SE" sz="1050" kern="1200" dirty="0">
              <a:solidFill>
                <a:schemeClr val="tx1"/>
              </a:solidFill>
              <a:effectLst/>
              <a:latin typeface="Segoe UI" pitchFamily="34" charset="0"/>
              <a:ea typeface="Segoe UI" pitchFamily="34" charset="0"/>
              <a:cs typeface="Segoe UI" pitchFamily="34" charset="0"/>
            </a:endParaRPr>
          </a:p>
          <a:p>
            <a:pPr marL="0" indent="0">
              <a:buFont typeface="Arial" panose="020B0604020202020204" pitchFamily="34" charset="0"/>
              <a:buNone/>
            </a:pPr>
            <a:r>
              <a:rPr lang="sv-SE" sz="1050" b="1" i="0" kern="1200" dirty="0">
                <a:solidFill>
                  <a:schemeClr val="tx1"/>
                </a:solidFill>
                <a:effectLst/>
                <a:latin typeface="Segoe UI" pitchFamily="34" charset="0"/>
                <a:ea typeface="Segoe UI" pitchFamily="34" charset="0"/>
                <a:cs typeface="Segoe UI" pitchFamily="34" charset="0"/>
              </a:rPr>
              <a:t>R</a:t>
            </a:r>
            <a:r>
              <a:rPr lang="en-US" sz="1050" b="1" i="0" kern="1200" dirty="0" err="1">
                <a:solidFill>
                  <a:schemeClr val="tx1"/>
                </a:solidFill>
                <a:effectLst/>
                <a:latin typeface="Segoe UI" pitchFamily="34" charset="0"/>
                <a:ea typeface="Segoe UI" pitchFamily="34" charset="0"/>
                <a:cs typeface="Segoe UI" pitchFamily="34" charset="0"/>
              </a:rPr>
              <a:t>ead</a:t>
            </a:r>
            <a:r>
              <a:rPr lang="en-US" sz="1050" b="1" i="0" kern="1200" dirty="0">
                <a:solidFill>
                  <a:schemeClr val="tx1"/>
                </a:solidFill>
                <a:effectLst/>
                <a:latin typeface="Segoe UI" pitchFamily="34" charset="0"/>
                <a:ea typeface="Segoe UI" pitchFamily="34" charset="0"/>
                <a:cs typeface="Segoe UI" pitchFamily="34" charset="0"/>
              </a:rPr>
              <a:t> more here </a:t>
            </a:r>
          </a:p>
          <a:p>
            <a:pPr marL="0" indent="0">
              <a:buFont typeface="Arial" panose="020B0604020202020204" pitchFamily="34" charset="0"/>
              <a:buNone/>
            </a:pPr>
            <a:r>
              <a:rPr lang="en-US" sz="1050" b="1" i="0" kern="1200" dirty="0">
                <a:solidFill>
                  <a:schemeClr val="tx1"/>
                </a:solidFill>
                <a:effectLst/>
                <a:latin typeface="Segoe UI" pitchFamily="34" charset="0"/>
                <a:ea typeface="Segoe UI" pitchFamily="34" charset="0"/>
                <a:cs typeface="Segoe UI" pitchFamily="34" charset="0"/>
              </a:rPr>
              <a:t>https://support.office.com/en-us/article/message-center-in-office-365-38fb3333-bfcc-4340-a37b-deda509c2093#ID0EAABAAA=Overview </a:t>
            </a:r>
          </a:p>
          <a:p>
            <a:pPr marL="0" indent="0">
              <a:buFont typeface="Arial" panose="020B0604020202020204" pitchFamily="34" charset="0"/>
              <a:buNone/>
            </a:pPr>
            <a:endParaRPr lang="sv-SE" sz="1050" b="1" i="0" kern="1200" dirty="0">
              <a:solidFill>
                <a:schemeClr val="tx1"/>
              </a:solidFill>
              <a:effectLst/>
              <a:latin typeface="Segoe UI" pitchFamily="34" charset="0"/>
              <a:ea typeface="Segoe UI" pitchFamily="34" charset="0"/>
              <a:cs typeface="Segoe UI" pitchFamily="34" charset="0"/>
            </a:endParaRPr>
          </a:p>
          <a:p>
            <a:pPr fontAlgn="t"/>
            <a:endParaRPr lang="sv-SE" sz="1050" kern="1200" dirty="0">
              <a:solidFill>
                <a:schemeClr val="tx1"/>
              </a:solidFill>
              <a:effectLst/>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30962250"/>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rmAutofit/>
          </a:bodyPr>
          <a:lstStyle/>
          <a:p>
            <a:pPr marL="0" indent="0">
              <a:buFont typeface="Arial" panose="020B0604020202020204" pitchFamily="34" charset="0"/>
              <a:buNone/>
            </a:pPr>
            <a:r>
              <a:rPr lang="sv-SE" dirty="0"/>
              <a:t>Discuss different options available on Update Screen.</a:t>
            </a:r>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875933849"/>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17380566"/>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rmAutofit/>
          </a:bodyPr>
          <a:lstStyle/>
          <a:p>
            <a:pPr marL="0" marR="0" lvl="0" indent="0" algn="l" defTabSz="609585" rtl="0" eaLnBrk="1" fontAlgn="auto" latinLnBrk="0" hangingPunct="1">
              <a:lnSpc>
                <a:spcPct val="100000"/>
              </a:lnSpc>
              <a:spcBef>
                <a:spcPts val="400"/>
              </a:spcBef>
              <a:spcAft>
                <a:spcPts val="800"/>
              </a:spcAft>
              <a:buClrTx/>
              <a:buSzTx/>
              <a:buFont typeface="Arial" panose="020B0604020202020204" pitchFamily="34" charset="0"/>
              <a:buNone/>
              <a:tabLst/>
              <a:defRPr/>
            </a:pPr>
            <a:r>
              <a:rPr lang="sv-SE" dirty="0"/>
              <a:t>Discuss different options available on Update Screen.</a:t>
            </a:r>
            <a:endParaRPr lang="en-US" dirty="0"/>
          </a:p>
          <a:p>
            <a:pPr marL="0" indent="0">
              <a:buFont typeface="Arial" panose="020B0604020202020204" pitchFamily="34" charset="0"/>
              <a:buNone/>
            </a:pPr>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480628141"/>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397225821"/>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72099008"/>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670888081"/>
      </p:ext>
    </p:extLst>
  </p:cSld>
  <p:clrMapOvr>
    <a:masterClrMapping/>
  </p:clrMapOvr>
</p:notes>
</file>

<file path=ppt/notesSlides/notesSlide3.xml><?xml version="1.0" encoding="utf-8"?>
<p:notes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Notes Placeholder 7"/>
          <p:cNvSpPr>
            <a:spLocks noGrp="1"/>
          </p:cNvSpPr>
          <p:nvPr>
            <p:ph type="body" idx="1"/>
          </p:nvPr>
        </p:nvSpPr>
        <p:spPr>
          <a:xfrm>
            <a:off x="381000" y="482600"/>
            <a:ext cx="6096000" cy="8202612"/>
          </a:xfrm>
        </p:spPr>
        <p:txBody>
          <a:bodyPr/>
          <a:lstStyle/>
          <a:p>
            <a:r>
              <a:rPr lang="en-IN" sz="1800" b="1" dirty="0"/>
              <a:t>Terminology</a:t>
            </a:r>
            <a:endParaRPr lang="en-US" sz="1800" b="1" dirty="0"/>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1921717088"/>
              </p:ext>
            </p:extLst>
          </p:nvPr>
        </p:nvGraphicFramePr>
        <p:xfrm>
          <a:off x="632091" y="920979"/>
          <a:ext cx="5629275" cy="6923089"/>
        </p:xfrm>
        <a:graphic>
          <a:graphicData uri="http://schemas.openxmlformats.org/drawingml/2006/table">
            <a:tbl>
              <a:tblPr firstRow="1" firstCol="1" bandRow="1">
                <a:tableStyleId>{5C22544A-7EE6-4342-B048-85BDC9FD1C3A}</a:tableStyleId>
              </a:tblPr>
              <a:tblGrid>
                <a:gridCol w="2643549">
                  <a:extLst>
                    <a:ext uri="{9D8B030D-6E8A-4147-A177-3AD203B41FA5}">
                      <a16:colId xmlns:a16="http://schemas.microsoft.com/office/drawing/2014/main" val="20000"/>
                    </a:ext>
                  </a:extLst>
                </a:gridCol>
                <a:gridCol w="2985726">
                  <a:extLst>
                    <a:ext uri="{9D8B030D-6E8A-4147-A177-3AD203B41FA5}">
                      <a16:colId xmlns:a16="http://schemas.microsoft.com/office/drawing/2014/main" val="20001"/>
                    </a:ext>
                  </a:extLst>
                </a:gridCol>
              </a:tblGrid>
              <a:tr h="184861">
                <a:tc>
                  <a:txBody>
                    <a:bodyPr/>
                    <a:lstStyle/>
                    <a:p>
                      <a:pPr>
                        <a:lnSpc>
                          <a:spcPct val="107000"/>
                        </a:lnSpc>
                        <a:spcAft>
                          <a:spcPts val="0"/>
                        </a:spcAft>
                      </a:pPr>
                      <a:r>
                        <a:rPr lang="en-US" sz="1400" dirty="0">
                          <a:effectLst/>
                          <a:latin typeface="Segoe UI" panose="020B0502040204020203" pitchFamily="34" charset="0"/>
                          <a:cs typeface="Segoe UI" panose="020B0502040204020203" pitchFamily="34" charset="0"/>
                        </a:rPr>
                        <a:t>Abbreviation</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400" dirty="0">
                          <a:effectLst/>
                          <a:latin typeface="Segoe UI" panose="020B0502040204020203" pitchFamily="34" charset="0"/>
                          <a:cs typeface="Segoe UI" panose="020B0502040204020203" pitchFamily="34" charset="0"/>
                        </a:rPr>
                        <a:t>Expansion</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00"/>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ACL </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Access Control List</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01"/>
                  </a:ext>
                </a:extLst>
              </a:tr>
              <a:tr h="184861">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AD D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Active Directory Domain Service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03"/>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AD RM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Active Directory Rights Management Service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04"/>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BC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Microsoft Business Connectivity Services </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05"/>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BDC</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Business Data Connectivity</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06"/>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BYOK</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Bring Your Own Key</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07"/>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CSOM</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Client</a:t>
                      </a:r>
                      <a:r>
                        <a:rPr lang="en-US" sz="1050" baseline="0" dirty="0">
                          <a:effectLst/>
                          <a:latin typeface="Segoe UI" panose="020B0502040204020203" pitchFamily="34" charset="0"/>
                          <a:cs typeface="Segoe UI" panose="020B0502040204020203" pitchFamily="34" charset="0"/>
                        </a:rPr>
                        <a:t> </a:t>
                      </a:r>
                      <a:r>
                        <a:rPr lang="en-US" sz="1050" dirty="0">
                          <a:effectLst/>
                          <a:latin typeface="Segoe UI" panose="020B0502040204020203" pitchFamily="34" charset="0"/>
                          <a:cs typeface="Segoe UI" panose="020B0502040204020203" pitchFamily="34" charset="0"/>
                        </a:rPr>
                        <a:t>Object Model</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08"/>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CS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Cascading Style Sheet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09"/>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CSV</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Comma-separated Valu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10"/>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DLP</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Data Loss Prevention</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11"/>
                  </a:ext>
                </a:extLst>
              </a:tr>
              <a:tr h="1940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DN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Domain Name System </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12"/>
                  </a:ext>
                </a:extLst>
              </a:tr>
              <a:tr h="215471">
                <a:tc>
                  <a:txBody>
                    <a:bodyPr/>
                    <a:lstStyle/>
                    <a:p>
                      <a:pPr>
                        <a:lnSpc>
                          <a:spcPct val="107000"/>
                        </a:lnSpc>
                        <a:spcAft>
                          <a:spcPts val="0"/>
                        </a:spcAft>
                        <a:tabLst>
                          <a:tab pos="561975" algn="l"/>
                        </a:tabLst>
                      </a:pPr>
                      <a:r>
                        <a:rPr lang="en-US" sz="1050" dirty="0">
                          <a:effectLst/>
                          <a:latin typeface="Segoe UI" panose="020B0502040204020203" pitchFamily="34" charset="0"/>
                          <a:cs typeface="Segoe UI" panose="020B0502040204020203" pitchFamily="34" charset="0"/>
                        </a:rPr>
                        <a:t>ECM</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Enterprise Content Management</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14"/>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EDRM</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Electronic Discovery Reference Model</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15"/>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EM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Emergency Management Service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16"/>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EW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Exchange Web Service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17"/>
                  </a:ext>
                </a:extLst>
              </a:tr>
              <a:tr h="184861">
                <a:tc>
                  <a:txBody>
                    <a:bodyPr/>
                    <a:lstStyle/>
                    <a:p>
                      <a:pPr>
                        <a:lnSpc>
                          <a:spcPct val="107000"/>
                        </a:lnSpc>
                        <a:spcAft>
                          <a:spcPts val="0"/>
                        </a:spcAft>
                      </a:pPr>
                      <a:r>
                        <a:rPr lang="en-US" sz="1050">
                          <a:solidFill>
                            <a:schemeClr val="bg1"/>
                          </a:solidFill>
                          <a:effectLst/>
                          <a:latin typeface="Segoe UI" panose="020B0502040204020203" pitchFamily="34" charset="0"/>
                          <a:cs typeface="Segoe UI" panose="020B0502040204020203" pitchFamily="34" charset="0"/>
                        </a:rPr>
                        <a:t>EXO</a:t>
                      </a:r>
                      <a:endParaRPr lang="en-US" sz="1200" dirty="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 Exchange Onlin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18"/>
                  </a:ext>
                </a:extLst>
              </a:tr>
              <a:tr h="184861">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FCI</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File Classification Infrastructur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19"/>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HSM</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Hardware Security Modul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0"/>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II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Internet Information Service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1"/>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InfoPath Form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InfoPath Forms Service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2"/>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IRM</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Information Rights Management</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3"/>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MUI</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Multilingual User Interfac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4"/>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NTF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New Technology File System</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5"/>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RAC</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Rights Account Certificat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6"/>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REST</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Representational State Transfer</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7"/>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RM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Rights Management Servic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8"/>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SC</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Site Collection</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29"/>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SDK</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Software Development Kit</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30"/>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SIP</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Session Initiation Protocol</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31"/>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SMTP</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Simple Mail Transport Protocol</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32"/>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SPO</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SharePoint Onlin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33"/>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SSN</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Social Security Number</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34"/>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USL</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User Subscription Licens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35"/>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UTC</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Universal Time Coordinate</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36"/>
                  </a:ext>
                </a:extLst>
              </a:tr>
              <a:tr h="184861">
                <a:tc>
                  <a:txBody>
                    <a:bodyPr/>
                    <a:lstStyle/>
                    <a:p>
                      <a:pPr>
                        <a:lnSpc>
                          <a:spcPct val="107000"/>
                        </a:lnSpc>
                        <a:spcAft>
                          <a:spcPts val="0"/>
                        </a:spcAft>
                      </a:pPr>
                      <a:r>
                        <a:rPr lang="en-US" sz="1050">
                          <a:effectLst/>
                          <a:latin typeface="Segoe UI" panose="020B0502040204020203" pitchFamily="34" charset="0"/>
                          <a:cs typeface="Segoe UI" panose="020B0502040204020203" pitchFamily="34" charset="0"/>
                        </a:rPr>
                        <a:t>WCF</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Windows Communication Foundation</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37"/>
                  </a:ext>
                </a:extLst>
              </a:tr>
              <a:tr h="184861">
                <a:tc>
                  <a:txBody>
                    <a:bodyPr/>
                    <a:lstStyle/>
                    <a:p>
                      <a:pPr>
                        <a:lnSpc>
                          <a:spcPct val="107000"/>
                        </a:lnSpc>
                        <a:spcAft>
                          <a:spcPts val="0"/>
                        </a:spcAft>
                      </a:pPr>
                      <a:r>
                        <a:rPr lang="en-US" sz="1050" dirty="0">
                          <a:effectLst/>
                          <a:latin typeface="Segoe UI" panose="020B0502040204020203" pitchFamily="34" charset="0"/>
                          <a:cs typeface="Segoe UI" panose="020B0502040204020203" pitchFamily="34" charset="0"/>
                        </a:rPr>
                        <a:t>XPS</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tc>
                  <a:txBody>
                    <a:bodyPr/>
                    <a:lstStyle/>
                    <a:p>
                      <a:pPr>
                        <a:lnSpc>
                          <a:spcPct val="107000"/>
                        </a:lnSpc>
                        <a:spcAft>
                          <a:spcPts val="0"/>
                        </a:spcAft>
                      </a:pPr>
                      <a:r>
                        <a:rPr lang="en-IN" sz="1050" dirty="0">
                          <a:effectLst/>
                          <a:latin typeface="Segoe UI" panose="020B0502040204020203" pitchFamily="34" charset="0"/>
                          <a:cs typeface="Segoe UI" panose="020B0502040204020203" pitchFamily="34" charset="0"/>
                        </a:rPr>
                        <a:t>XML Paper Specification</a:t>
                      </a:r>
                      <a:endParaRPr lang="en-US" sz="1200" dirty="0">
                        <a:effectLst/>
                        <a:latin typeface="Segoe UI" panose="020B0502040204020203" pitchFamily="34" charset="0"/>
                        <a:ea typeface="Calibri" panose="020F0502020204030204" pitchFamily="34" charset="0"/>
                        <a:cs typeface="Segoe UI" panose="020B0502040204020203" pitchFamily="34" charset="0"/>
                      </a:endParaRPr>
                    </a:p>
                  </a:txBody>
                  <a:tcPr marL="47668" marR="47668" marT="0" marB="0"/>
                </a:tc>
                <a:extLst>
                  <a:ext uri="{0D108BD9-81ED-4DB2-BD59-A6C34878D82A}">
                    <a16:rowId xmlns:a16="http://schemas.microsoft.com/office/drawing/2014/main" val="10038"/>
                  </a:ext>
                </a:extLst>
              </a:tr>
            </a:tbl>
          </a:graphicData>
        </a:graphic>
      </p:graphicFrame>
      <p:sp>
        <p:nvSpPr>
          <p:cNvPr id="3" name="Slide Number Placeholder 2"/>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669032620"/>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669032620"/>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76670771"/>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34890885"/>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Image Placeholder 12"/>
          <p:cNvSpPr>
            <a:spLocks noGrp="1" noRot="1" noChangeAspect="1"/>
          </p:cNvSpPr>
          <p:nvPr>
            <p:ph type="sldImg"/>
          </p:nvPr>
        </p:nvSpPr>
        <p:spPr>
          <a:xfrm>
            <a:off x="381000" y="482600"/>
            <a:ext cx="6096000" cy="3429000"/>
          </a:xfrm>
        </p:spPr>
      </p:sp>
      <p:sp>
        <p:nvSpPr>
          <p:cNvPr id="14" name="Notes Placeholder 13"/>
          <p:cNvSpPr>
            <a:spLocks noGrp="1"/>
          </p:cNvSpPr>
          <p:nvPr>
            <p:ph type="body" idx="1"/>
          </p:nvPr>
        </p:nvSpPr>
        <p:spPr/>
        <p:txBody>
          <a:bodyPr/>
          <a:lstStyle/>
          <a:p>
            <a:pPr lvl="0" defTabSz="914363">
              <a:defRPr/>
            </a:pPr>
            <a:r>
              <a:rPr lang="en-US" dirty="0"/>
              <a:t>And much more</a:t>
            </a:r>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250886712"/>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rmAutofit/>
          </a:bodyPr>
          <a:lstStyle/>
          <a:p>
            <a:pPr lvl="0" defTabSz="1096742">
              <a:spcAft>
                <a:spcPts val="500"/>
              </a:spcAft>
              <a:defRPr/>
            </a:pPr>
            <a:r>
              <a:rPr lang="en-US" sz="1050" b="1" dirty="0"/>
              <a:t>Key Microsoft 365 Benefits</a:t>
            </a:r>
          </a:p>
          <a:p>
            <a:pPr marL="171450" lvl="0" indent="-171450" defTabSz="1096742">
              <a:spcAft>
                <a:spcPts val="500"/>
              </a:spcAft>
              <a:buFont typeface="Arial" pitchFamily="34" charset="0"/>
              <a:buChar char="•"/>
              <a:defRPr/>
            </a:pPr>
            <a:r>
              <a:rPr lang="en-US" sz="1050" dirty="0"/>
              <a:t>Anywhere-access to email, documents, contacts, and calendars on nearly any device. </a:t>
            </a:r>
          </a:p>
          <a:p>
            <a:pPr marL="171450" lvl="0" indent="-171450" defTabSz="1096742">
              <a:spcAft>
                <a:spcPts val="500"/>
              </a:spcAft>
              <a:buFont typeface="Arial" pitchFamily="34" charset="0"/>
              <a:buChar char="•"/>
              <a:defRPr/>
            </a:pPr>
            <a:r>
              <a:rPr lang="en-US" sz="1050" dirty="0"/>
              <a:t>Works seamlessly with Microsoft Office and the other programs your users already count on every day.</a:t>
            </a:r>
          </a:p>
          <a:p>
            <a:pPr marL="171450" lvl="0" indent="-171450" defTabSz="1096742">
              <a:spcAft>
                <a:spcPts val="500"/>
              </a:spcAft>
              <a:buFont typeface="Arial" pitchFamily="34" charset="0"/>
              <a:buChar char="•"/>
              <a:defRPr/>
            </a:pPr>
            <a:r>
              <a:rPr lang="en-US" sz="1050" dirty="0"/>
              <a:t>Business-class features including IT-level phone support, 99.9% uptime, geo-redundancy, and disaster recovery. For more information, refer to: </a:t>
            </a:r>
          </a:p>
          <a:p>
            <a:pPr marL="171450" lvl="0" indent="-171450" defTabSz="1096742">
              <a:spcAft>
                <a:spcPts val="500"/>
              </a:spcAft>
              <a:buFont typeface="Arial" pitchFamily="34" charset="0"/>
              <a:buChar char="•"/>
              <a:defRPr/>
            </a:pPr>
            <a:r>
              <a:rPr lang="en-US" sz="1050" dirty="0"/>
              <a:t>Pay-as-you-go pricing options that give you predictability and flexibility for all or part of your organization.</a:t>
            </a:r>
            <a:br>
              <a:rPr lang="en-US" sz="1050" dirty="0"/>
            </a:br>
            <a:endParaRPr lang="en-US" sz="1050" dirty="0"/>
          </a:p>
          <a:p>
            <a:pPr marL="171450" lvl="0" indent="-171450" defTabSz="1096742">
              <a:spcAft>
                <a:spcPts val="500"/>
              </a:spcAft>
              <a:buFont typeface="Arial" pitchFamily="34" charset="0"/>
              <a:buChar char="•"/>
              <a:defRPr/>
            </a:pPr>
            <a:r>
              <a:rPr lang="en-US" sz="1050" dirty="0"/>
              <a:t>For information</a:t>
            </a:r>
            <a:r>
              <a:rPr lang="en-US" sz="1050" baseline="0" dirty="0"/>
              <a:t> on supported browsers for Microsoft 365, </a:t>
            </a:r>
            <a:r>
              <a:rPr lang="en-US" dirty="0"/>
              <a:t>see </a:t>
            </a:r>
            <a:r>
              <a:rPr lang="en-US" dirty="0">
                <a:hlinkClick r:id="rId3"/>
              </a:rPr>
              <a:t>https://products.office.com/en-US/office-system-requirements/#Browsers-section</a:t>
            </a:r>
            <a:endParaRPr lang="en-US" dirty="0"/>
          </a:p>
          <a:p>
            <a:pPr marL="171450" lvl="0" indent="-171450" defTabSz="1096742">
              <a:spcAft>
                <a:spcPts val="500"/>
              </a:spcAft>
              <a:buFont typeface="Arial" pitchFamily="34" charset="0"/>
              <a:buChar char="•"/>
              <a:defRPr/>
            </a:pPr>
            <a:r>
              <a:rPr lang="en-US" sz="1050" kern="1200" dirty="0">
                <a:solidFill>
                  <a:schemeClr val="tx1"/>
                </a:solidFill>
                <a:effectLst/>
                <a:latin typeface="Segoe UI" pitchFamily="34" charset="0"/>
                <a:cs typeface="Segoe UI" pitchFamily="34" charset="0"/>
              </a:rPr>
              <a:t>For detailed information</a:t>
            </a:r>
            <a:r>
              <a:rPr lang="en-US" sz="1050" kern="1200" baseline="0" dirty="0">
                <a:solidFill>
                  <a:schemeClr val="tx1"/>
                </a:solidFill>
                <a:effectLst/>
                <a:latin typeface="Segoe UI" pitchFamily="34" charset="0"/>
                <a:cs typeface="Segoe UI" pitchFamily="34" charset="0"/>
              </a:rPr>
              <a:t> on SLAs, </a:t>
            </a:r>
            <a:r>
              <a:rPr lang="en-US" dirty="0"/>
              <a:t>see:</a:t>
            </a:r>
          </a:p>
          <a:p>
            <a:pPr marL="781035" lvl="1" indent="-171450" defTabSz="1096742">
              <a:spcAft>
                <a:spcPts val="500"/>
              </a:spcAft>
              <a:buFont typeface="Arial" pitchFamily="34" charset="0"/>
              <a:buChar char="•"/>
              <a:defRPr/>
            </a:pPr>
            <a:r>
              <a:rPr lang="en-US" dirty="0">
                <a:hlinkClick r:id="rId4"/>
              </a:rPr>
              <a:t>https://products.office.com/en-us/business/office-365-trust-center-cloud-computing-security</a:t>
            </a:r>
            <a:endParaRPr lang="en-US" dirty="0"/>
          </a:p>
          <a:p>
            <a:pPr marL="781035" lvl="1" indent="-171450" defTabSz="1096742">
              <a:spcAft>
                <a:spcPts val="500"/>
              </a:spcAft>
              <a:buFont typeface="Arial" pitchFamily="34" charset="0"/>
              <a:buChar char="•"/>
              <a:defRPr/>
            </a:pPr>
            <a:r>
              <a:rPr lang="en-US" kern="1200" baseline="0" dirty="0">
                <a:effectLst/>
                <a:latin typeface="Segoe UI" pitchFamily="34" charset="0"/>
                <a:cs typeface="Segoe UI" pitchFamily="34" charset="0"/>
              </a:rPr>
              <a:t>http://www.microsoftvolumelicensing.com/DocumentSearch.aspx?Mode=3&amp;DocumentTypeId=37</a:t>
            </a:r>
          </a:p>
          <a:p>
            <a:pPr marL="171450" marR="0" lvl="0" indent="-171450" algn="l" defTabSz="1096742" rtl="0" eaLnBrk="1" fontAlgn="auto" latinLnBrk="0" hangingPunct="1">
              <a:lnSpc>
                <a:spcPct val="100000"/>
              </a:lnSpc>
              <a:spcBef>
                <a:spcPts val="400"/>
              </a:spcBef>
              <a:spcAft>
                <a:spcPts val="500"/>
              </a:spcAft>
              <a:buClrTx/>
              <a:buSzTx/>
              <a:buFont typeface="Arial" pitchFamily="34" charset="0"/>
              <a:buChar char="•"/>
              <a:tabLst/>
              <a:defRPr/>
            </a:pPr>
            <a:endParaRPr lang="en-US" dirty="0"/>
          </a:p>
          <a:p>
            <a:pPr marL="171450" lvl="0" indent="-171450" defTabSz="1096742">
              <a:spcAft>
                <a:spcPts val="500"/>
              </a:spcAft>
              <a:buFont typeface="Arial" pitchFamily="34" charset="0"/>
              <a:buChar char="•"/>
              <a:defRPr/>
            </a:pPr>
            <a:endParaRPr lang="en-US" sz="1050" dirty="0"/>
          </a:p>
        </p:txBody>
      </p:sp>
      <p:sp>
        <p:nvSpPr>
          <p:cNvPr id="6" name="Slide Number Placeholder 5"/>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975135035"/>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Autofit/>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365 Apps for the Enterprise</a:t>
            </a:r>
          </a:p>
          <a:p>
            <a:pPr marL="171450" lvl="0" indent="-171450" defTabSz="914363">
              <a:spcBef>
                <a:spcPts val="0"/>
              </a:spcBef>
              <a:spcAft>
                <a:spcPts val="0"/>
              </a:spcAft>
              <a:buFont typeface="Arial" panose="020B0604020202020204" pitchFamily="34" charset="0"/>
              <a:buChar char="•"/>
              <a:defRPr/>
            </a:pPr>
            <a:r>
              <a:rPr lang="en-US" dirty="0"/>
              <a:t>Flexible pay-as-you-go, per-user licensing</a:t>
            </a:r>
          </a:p>
          <a:p>
            <a:pPr marL="171450" lvl="0" indent="-171450" defTabSz="914363">
              <a:spcBef>
                <a:spcPts val="0"/>
              </a:spcBef>
              <a:spcAft>
                <a:spcPts val="0"/>
              </a:spcAft>
              <a:buFont typeface="Arial" panose="020B0604020202020204" pitchFamily="34" charset="0"/>
              <a:buChar char="•"/>
              <a:defRPr/>
            </a:pPr>
            <a:r>
              <a:rPr lang="en-US" dirty="0"/>
              <a:t>Office experience with services integration in Microsoft 365 </a:t>
            </a:r>
          </a:p>
          <a:p>
            <a:pPr marL="171450" lvl="0" indent="-171450" defTabSz="914363">
              <a:spcBef>
                <a:spcPts val="0"/>
              </a:spcBef>
              <a:spcAft>
                <a:spcPts val="0"/>
              </a:spcAft>
              <a:buFont typeface="Arial" panose="020B0604020202020204" pitchFamily="34" charset="0"/>
              <a:buChar char="•"/>
              <a:defRPr/>
            </a:pPr>
            <a:r>
              <a:rPr lang="en-US" dirty="0"/>
              <a:t>Allows for activation on up to five devices and five mobile devices per each User SL </a:t>
            </a:r>
          </a:p>
          <a:p>
            <a:pPr lvl="0" defTabSz="914363">
              <a:spcBef>
                <a:spcPts val="0"/>
              </a:spcBef>
              <a:spcAft>
                <a:spcPts val="0"/>
              </a:spcAft>
              <a:defRPr/>
            </a:pPr>
            <a:endParaRPr lang="en-US" b="1" dirty="0"/>
          </a:p>
          <a:p>
            <a:pPr lvl="0" defTabSz="914363">
              <a:spcBef>
                <a:spcPts val="0"/>
              </a:spcBef>
              <a:spcAft>
                <a:spcPts val="0"/>
              </a:spcAft>
              <a:defRPr/>
            </a:pPr>
            <a:r>
              <a:rPr lang="en-US" b="1" dirty="0"/>
              <a:t>SharePoint Online</a:t>
            </a:r>
          </a:p>
          <a:p>
            <a:pPr marL="115888" indent="-115888" defTabSz="914099" fontAlgn="base">
              <a:spcBef>
                <a:spcPts val="0"/>
              </a:spcBef>
              <a:spcAft>
                <a:spcPts val="0"/>
              </a:spcAft>
              <a:buFont typeface="Arial" pitchFamily="34" charset="0"/>
              <a:buChar char="•"/>
            </a:pPr>
            <a:r>
              <a:rPr lang="en-US" dirty="0"/>
              <a:t>Share important documents, insights, and status with colleagues</a:t>
            </a:r>
          </a:p>
          <a:p>
            <a:pPr marL="115888" indent="-115888" defTabSz="914099" fontAlgn="base">
              <a:spcBef>
                <a:spcPts val="0"/>
              </a:spcBef>
              <a:spcAft>
                <a:spcPts val="0"/>
              </a:spcAft>
              <a:buFont typeface="Arial" pitchFamily="34" charset="0"/>
              <a:buChar char="•"/>
            </a:pPr>
            <a:r>
              <a:rPr lang="en-US" dirty="0"/>
              <a:t>Keep teams in sync and manage important projects</a:t>
            </a:r>
          </a:p>
          <a:p>
            <a:pPr marL="115888" indent="-115888" defTabSz="914099" fontAlgn="base">
              <a:spcBef>
                <a:spcPts val="0"/>
              </a:spcBef>
              <a:spcAft>
                <a:spcPts val="0"/>
              </a:spcAft>
              <a:buFont typeface="Arial" pitchFamily="34" charset="0"/>
              <a:buChar char="•"/>
            </a:pPr>
            <a:r>
              <a:rPr lang="en-US" dirty="0"/>
              <a:t>Find important documents and people easily</a:t>
            </a:r>
          </a:p>
          <a:p>
            <a:pPr marL="115888" indent="-115888" defTabSz="914099" fontAlgn="base">
              <a:spcBef>
                <a:spcPts val="0"/>
              </a:spcBef>
              <a:spcAft>
                <a:spcPts val="0"/>
              </a:spcAft>
              <a:buFont typeface="Arial" pitchFamily="34" charset="0"/>
              <a:buChar char="•"/>
            </a:pPr>
            <a:r>
              <a:rPr lang="en-US" dirty="0"/>
              <a:t>Stay up to date with company information and news</a:t>
            </a:r>
          </a:p>
          <a:p>
            <a:pPr marL="115888" indent="-115888" defTabSz="914099" fontAlgn="base">
              <a:spcBef>
                <a:spcPts val="0"/>
              </a:spcBef>
              <a:spcAft>
                <a:spcPts val="0"/>
              </a:spcAft>
              <a:buFont typeface="Arial" pitchFamily="34" charset="0"/>
              <a:buChar char="•"/>
            </a:pPr>
            <a:r>
              <a:rPr lang="en-US" dirty="0"/>
              <a:t>Total tenant storage of 10 GB and additional 500 MB per user (For example, if you have 10,000 users, the base storage allocation is approximately 5 Terabytes (10 GB + 500 MB * 10,000 users)</a:t>
            </a:r>
          </a:p>
          <a:p>
            <a:pPr marL="115888" indent="-115888" defTabSz="914099" fontAlgn="base">
              <a:spcBef>
                <a:spcPts val="0"/>
              </a:spcBef>
              <a:spcAft>
                <a:spcPts val="0"/>
              </a:spcAft>
              <a:buFont typeface="Arial" pitchFamily="34" charset="0"/>
              <a:buChar char="•"/>
            </a:pPr>
            <a:r>
              <a:rPr lang="en-US" dirty="0"/>
              <a:t>Unlimited OneDrive</a:t>
            </a:r>
            <a:r>
              <a:rPr lang="en-US" baseline="0" dirty="0"/>
              <a:t> for Business storage per user </a:t>
            </a:r>
            <a:r>
              <a:rPr lang="en-US" dirty="0"/>
              <a:t>(separate from the total</a:t>
            </a:r>
            <a:r>
              <a:rPr lang="en-US" baseline="0" dirty="0"/>
              <a:t> tenant storage)</a:t>
            </a:r>
          </a:p>
          <a:p>
            <a:pPr marL="115888" indent="-115888" defTabSz="914099" fontAlgn="base">
              <a:spcBef>
                <a:spcPts val="0"/>
              </a:spcBef>
              <a:spcAft>
                <a:spcPts val="0"/>
              </a:spcAft>
              <a:buFont typeface="Arial" pitchFamily="34" charset="0"/>
              <a:buChar char="•"/>
            </a:pPr>
            <a:r>
              <a:rPr lang="en-AU" baseline="0" dirty="0"/>
              <a:t>No limit on </a:t>
            </a:r>
            <a:r>
              <a:rPr lang="en-AU" dirty="0"/>
              <a:t>additional pooled</a:t>
            </a:r>
            <a:r>
              <a:rPr lang="en-AU" baseline="0" dirty="0"/>
              <a:t> site collection </a:t>
            </a:r>
            <a:r>
              <a:rPr lang="en-AU" dirty="0"/>
              <a:t>storage</a:t>
            </a:r>
            <a:r>
              <a:rPr lang="en-AU" baseline="0" dirty="0"/>
              <a:t> that can be purchased</a:t>
            </a:r>
          </a:p>
          <a:p>
            <a:pPr lvl="0" defTabSz="914363">
              <a:spcBef>
                <a:spcPts val="0"/>
              </a:spcBef>
              <a:spcAft>
                <a:spcPts val="0"/>
              </a:spcAft>
              <a:defRPr/>
            </a:pPr>
            <a:endParaRPr lang="en-US" b="1" dirty="0">
              <a:solidFill>
                <a:prstClr val="black"/>
              </a:solidFill>
            </a:endParaRPr>
          </a:p>
          <a:p>
            <a:pPr lvl="0" defTabSz="914363">
              <a:spcBef>
                <a:spcPts val="0"/>
              </a:spcBef>
              <a:spcAft>
                <a:spcPts val="0"/>
              </a:spcAft>
              <a:defRPr/>
            </a:pPr>
            <a:r>
              <a:rPr lang="en-US" b="1" dirty="0">
                <a:solidFill>
                  <a:prstClr val="black"/>
                </a:solidFill>
              </a:rPr>
              <a:t>Exchange Online</a:t>
            </a:r>
          </a:p>
          <a:p>
            <a:pPr marL="171450" lvl="0" indent="-171450" defTabSz="914099" fontAlgn="base">
              <a:spcBef>
                <a:spcPts val="0"/>
              </a:spcBef>
              <a:spcAft>
                <a:spcPts val="0"/>
              </a:spcAft>
              <a:buFont typeface="Arial" pitchFamily="34" charset="0"/>
              <a:buChar char="•"/>
            </a:pPr>
            <a:r>
              <a:rPr lang="en-US" dirty="0">
                <a:solidFill>
                  <a:prstClr val="black"/>
                </a:solidFill>
              </a:rPr>
              <a:t>50 GB Mailbox</a:t>
            </a:r>
          </a:p>
          <a:p>
            <a:pPr marL="171450" lvl="0" indent="-171450" defTabSz="914099" fontAlgn="base">
              <a:spcBef>
                <a:spcPts val="0"/>
              </a:spcBef>
              <a:spcAft>
                <a:spcPts val="0"/>
              </a:spcAft>
              <a:buFont typeface="Arial" pitchFamily="34" charset="0"/>
              <a:buChar char="•"/>
            </a:pPr>
            <a:r>
              <a:rPr lang="en-US" dirty="0">
                <a:solidFill>
                  <a:prstClr val="black"/>
                </a:solidFill>
              </a:rPr>
              <a:t>Outlook and Outlook on the Web</a:t>
            </a:r>
          </a:p>
          <a:p>
            <a:pPr marL="171450" lvl="0" indent="-171450" defTabSz="914099" fontAlgn="base">
              <a:spcBef>
                <a:spcPts val="0"/>
              </a:spcBef>
              <a:spcAft>
                <a:spcPts val="0"/>
              </a:spcAft>
              <a:buFont typeface="Arial" pitchFamily="34" charset="0"/>
              <a:buChar char="•"/>
            </a:pPr>
            <a:r>
              <a:rPr lang="en-US" dirty="0">
                <a:solidFill>
                  <a:prstClr val="black"/>
                </a:solidFill>
              </a:rPr>
              <a:t>Premium antivirus/anti-spam (Exchange Online Protection)</a:t>
            </a:r>
          </a:p>
          <a:p>
            <a:pPr marL="171450" lvl="0" indent="-171450" defTabSz="914099" fontAlgn="base">
              <a:spcBef>
                <a:spcPts val="0"/>
              </a:spcBef>
              <a:spcAft>
                <a:spcPts val="0"/>
              </a:spcAft>
              <a:buFont typeface="Arial" pitchFamily="34" charset="0"/>
              <a:buChar char="•"/>
            </a:pPr>
            <a:r>
              <a:rPr lang="en-US" dirty="0">
                <a:solidFill>
                  <a:prstClr val="black"/>
                </a:solidFill>
              </a:rPr>
              <a:t>Shared calendars, contacts, and tasks</a:t>
            </a:r>
          </a:p>
          <a:p>
            <a:pPr marL="171450" lvl="0" indent="-171450" defTabSz="914099" fontAlgn="base">
              <a:spcBef>
                <a:spcPts val="0"/>
              </a:spcBef>
              <a:spcAft>
                <a:spcPts val="0"/>
              </a:spcAft>
              <a:buFont typeface="Arial" pitchFamily="34" charset="0"/>
              <a:buChar char="•"/>
            </a:pPr>
            <a:r>
              <a:rPr lang="en-US" dirty="0">
                <a:solidFill>
                  <a:prstClr val="black"/>
                </a:solidFill>
              </a:rPr>
              <a:t>Mobile email for most mobile devices including BlackBerry, iPhone, Android, and Windows Phone</a:t>
            </a:r>
          </a:p>
          <a:p>
            <a:pPr marL="171450" lvl="0" indent="-171450" defTabSz="914099" fontAlgn="base">
              <a:spcBef>
                <a:spcPts val="0"/>
              </a:spcBef>
              <a:spcAft>
                <a:spcPts val="0"/>
              </a:spcAft>
              <a:buFont typeface="Arial" pitchFamily="34" charset="0"/>
              <a:buChar char="•"/>
            </a:pPr>
            <a:r>
              <a:rPr lang="en-US" dirty="0">
                <a:solidFill>
                  <a:prstClr val="black"/>
                </a:solidFill>
              </a:rPr>
              <a:t>Email archiving and compliance capabilities</a:t>
            </a:r>
            <a:br>
              <a:rPr lang="en-US" baseline="0" dirty="0"/>
            </a:br>
            <a:endParaRPr lang="en-US" baseline="0" dirty="0"/>
          </a:p>
          <a:p>
            <a:pPr lvl="0" defTabSz="914363">
              <a:spcBef>
                <a:spcPts val="0"/>
              </a:spcBef>
              <a:spcAft>
                <a:spcPts val="0"/>
              </a:spcAft>
              <a:defRPr/>
            </a:pPr>
            <a:r>
              <a:rPr lang="en-US" b="1" dirty="0"/>
              <a:t>Microsoft Teams</a:t>
            </a:r>
          </a:p>
          <a:p>
            <a:pPr marL="114300" lvl="1" indent="-114300" algn="l" defTabSz="666750">
              <a:lnSpc>
                <a:spcPct val="90000"/>
              </a:lnSpc>
              <a:spcBef>
                <a:spcPct val="0"/>
              </a:spcBef>
              <a:spcAft>
                <a:spcPct val="20000"/>
              </a:spcAft>
              <a:buChar char="•"/>
            </a:pPr>
            <a:r>
              <a:rPr lang="en-US" sz="1500" kern="1200" dirty="0">
                <a:solidFill>
                  <a:schemeClr val="tx1"/>
                </a:solidFill>
                <a:latin typeface="Segoe UI" pitchFamily="34" charset="0"/>
                <a:ea typeface="Segoe UI" pitchFamily="34" charset="0"/>
                <a:cs typeface="Segoe UI" pitchFamily="34" charset="0"/>
              </a:rPr>
              <a:t>Where chat, content, people, and tools live together, so your teams have instant access to everything they need</a:t>
            </a:r>
          </a:p>
          <a:p>
            <a:pPr marL="114300" lvl="1" indent="-114300" defTabSz="666750">
              <a:lnSpc>
                <a:spcPct val="90000"/>
              </a:lnSpc>
              <a:spcBef>
                <a:spcPct val="0"/>
              </a:spcBef>
              <a:spcAft>
                <a:spcPct val="20000"/>
              </a:spcAft>
              <a:buChar char="•"/>
            </a:pPr>
            <a:r>
              <a:rPr lang="en-US" sz="1500" kern="1200" dirty="0">
                <a:solidFill>
                  <a:schemeClr val="tx1"/>
                </a:solidFill>
                <a:latin typeface="Segoe UI" pitchFamily="34" charset="0"/>
                <a:ea typeface="Segoe UI" pitchFamily="34" charset="0"/>
                <a:cs typeface="Segoe UI" pitchFamily="34" charset="0"/>
              </a:rPr>
              <a:t>Empower your workforce with Microsoft Teams to plan schedules, assign tasks and connect to other work-related apps and resources</a:t>
            </a:r>
            <a:endParaRPr lang="nb-NO" sz="1500" kern="1200" dirty="0">
              <a:solidFill>
                <a:schemeClr val="tx1"/>
              </a:solidFill>
              <a:latin typeface="Segoe UI" pitchFamily="34" charset="0"/>
              <a:ea typeface="Segoe UI" pitchFamily="34" charset="0"/>
              <a:cs typeface="Segoe UI" pitchFamily="34" charset="0"/>
            </a:endParaRPr>
          </a:p>
          <a:p>
            <a:pPr lvl="0" defTabSz="1096742">
              <a:spcAft>
                <a:spcPts val="500"/>
              </a:spcAft>
              <a:defRPr/>
            </a:pPr>
            <a:br>
              <a:rPr lang="en-US" dirty="0"/>
            </a:br>
            <a:endParaRPr lang="en-US" dirty="0"/>
          </a:p>
          <a:p>
            <a:endParaRPr lang="en-US" dirty="0"/>
          </a:p>
        </p:txBody>
      </p:sp>
      <p:sp>
        <p:nvSpPr>
          <p:cNvPr id="6" name="Slide Number Placeholder 5"/>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7345985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bin"/><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p:custDataLst>
              <p:tags r:id="rId1"/>
            </p:custDataLst>
          </p:nvPr>
        </p:nvPicPr>
        <p:blipFill rotWithShape="1">
          <a:blip r:embed="rId5"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pic>
        <p:nvPicPr>
          <p:cNvPr id="8" name="M365CO19_ENT_Android_236" descr="Male business executive looking out office window with Android mobile device in hand.">
            <a:extLst>
              <a:ext uri="{FF2B5EF4-FFF2-40B4-BE49-F238E27FC236}">
                <a16:creationId xmlns:a16="http://schemas.microsoft.com/office/drawing/2014/main" id="{EDA6F3EC-B4B3-4615-B7FB-06E568FE30D1}"/>
              </a:ext>
            </a:extLst>
          </p:cNvPr>
          <p:cNvPicPr>
            <a:picLocks noChangeAspect="1"/>
          </p:cNvPicPr>
          <p:nvPr userDrawn="1">
            <p:custDataLst>
              <p:tags r:id="rId2"/>
            </p:custDataLst>
          </p:nvPr>
        </p:nvPicPr>
        <p:blipFill rotWithShape="1">
          <a:blip r:embed="rId5"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131723641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18416777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0089458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3098962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graphicFrame>
        <p:nvGraphicFramePr>
          <p:cNvPr id="3" name="Diagram 2">
            <a:extLst>
              <a:ext uri="{FF2B5EF4-FFF2-40B4-BE49-F238E27FC236}">
                <a16:creationId xmlns:a16="http://schemas.microsoft.com/office/drawing/2014/main" id="{535EA832-A1A7-41CD-8707-A69029427CB3}"/>
              </a:ext>
            </a:extLst>
          </p:cNvPr>
          <p:cNvGraphicFramePr/>
          <p:nvPr>
            <p:extLst>
              <p:ext uri="{D42A27DB-BD31-4B8C-83A1-F6EECF244321}">
                <p14:modId xmlns:p14="http://schemas.microsoft.com/office/powerpoint/2010/main" val="1095427274"/>
              </p:ext>
            </p:extLst>
          </p:nvPr>
        </p:nvGraphicFramePr>
        <p:xfrm>
          <a:off x="655636" y="1408114"/>
          <a:ext cx="10880724" cy="47017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44933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9ABF26A1-E35D-40CE-9C6A-6D9293AC9DE6}"/>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5D58313F-9DE1-4E96-A788-2DBC72FED5EA}"/>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9F7B2DF3-2C7C-490E-B6A4-FC8E9C8E88C9}"/>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1DA964AC-4A55-4A27-8D2A-96D58EBA493A}"/>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dgm id="{CC44156B-E35B-4AA6-BAAD-A093BF798483}"/>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graphicEl>
                                              <a:dgm id="{28C15B55-83BE-4F22-AB61-34F84B57745B}"/>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32237436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64541858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290447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032547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0717013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215996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2820387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340576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181913119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0918413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0859890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3759897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8103042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5467894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6560571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83923289"/>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38836451"/>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39714753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7306690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3442976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956363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957690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1438946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7162294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931215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4911517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9501730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6383007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539204216"/>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329514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32466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515845"/>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89284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285968849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3575680"/>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3801283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5933486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8971724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477880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16620226"/>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010802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Title and text side by side">
    <p:spTree>
      <p:nvGrpSpPr>
        <p:cNvPr id="1" name=""/>
        <p:cNvGrpSpPr/>
        <p:nvPr/>
      </p:nvGrpSpPr>
      <p:grpSpPr>
        <a:xfrm>
          <a:off x="0" y="0"/>
          <a:ext cx="0" cy="0"/>
          <a:chOff x="0" y="0"/>
          <a:chExt cx="0" cy="0"/>
        </a:xfrm>
      </p:grpSpPr>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Learning Units covered in this Modu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hasCustomPrompt="1"/>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r>
              <a:rPr lang="en-US" dirty="0"/>
              <a:t>Learning 1</a:t>
            </a:r>
          </a:p>
          <a:p>
            <a:r>
              <a:rPr lang="en-US" dirty="0"/>
              <a:t>Learning 2</a:t>
            </a:r>
          </a:p>
        </p:txBody>
      </p:sp>
    </p:spTree>
    <p:extLst>
      <p:ext uri="{BB962C8B-B14F-4D97-AF65-F5344CB8AC3E}">
        <p14:creationId xmlns:p14="http://schemas.microsoft.com/office/powerpoint/2010/main" val="360806833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103204167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b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911353217"/>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t="409" b="409"/>
          <a:stretch/>
        </p:blipFill>
        <p:spPr>
          <a:xfrm>
            <a:off x="5283518" y="0"/>
            <a:ext cx="6908482" cy="6858000"/>
          </a:xfrm>
          <a:prstGeom prst="rect">
            <a:avLst/>
          </a:prstGeom>
        </p:spPr>
      </p:pic>
    </p:spTree>
    <p:extLst>
      <p:ext uri="{BB962C8B-B14F-4D97-AF65-F5344CB8AC3E}">
        <p14:creationId xmlns:p14="http://schemas.microsoft.com/office/powerpoint/2010/main" val="263601057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0421376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6"/>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1416874"/>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 id="2147484063" r:id="rId26"/>
    <p:sldLayoutId id="2147484064" r:id="rId27"/>
    <p:sldLayoutId id="2147484065" r:id="rId28"/>
    <p:sldLayoutId id="2147484066" r:id="rId29"/>
    <p:sldLayoutId id="2147484067" r:id="rId30"/>
    <p:sldLayoutId id="2147484068" r:id="rId31"/>
    <p:sldLayoutId id="2147484069" r:id="rId32"/>
    <p:sldLayoutId id="2147484070" r:id="rId33"/>
    <p:sldLayoutId id="2147484071" r:id="rId34"/>
    <p:sldLayoutId id="2147484072" r:id="rId35"/>
    <p:sldLayoutId id="2147484073" r:id="rId36"/>
    <p:sldLayoutId id="2147484074" r:id="rId37"/>
    <p:sldLayoutId id="2147484075" r:id="rId38"/>
    <p:sldLayoutId id="2147484076" r:id="rId39"/>
    <p:sldLayoutId id="2147484077" r:id="rId40"/>
    <p:sldLayoutId id="2147484078" r:id="rId41"/>
    <p:sldLayoutId id="2147484079" r:id="rId42"/>
    <p:sldLayoutId id="2147484080" r:id="rId43"/>
    <p:sldLayoutId id="2147484081" r:id="rId44"/>
    <p:sldLayoutId id="2147484082" r:id="rId45"/>
    <p:sldLayoutId id="2147484083" r:id="rId46"/>
    <p:sldLayoutId id="2147484084" r:id="rId47"/>
    <p:sldLayoutId id="2147484085" r:id="rId48"/>
    <p:sldLayoutId id="2147484086" r:id="rId49"/>
    <p:sldLayoutId id="2147484087" r:id="rId50"/>
    <p:sldLayoutId id="2147484088" r:id="rId51"/>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products.office.com/en-us/where-is-your-data-located" TargetMode="External"/><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30.png"/><Relationship Id="rId7" Type="http://schemas.openxmlformats.org/officeDocument/2006/relationships/diagramColors" Target="../diagrams/colors8.xml"/><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1.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emf"/><Relationship Id="rId4" Type="http://schemas.openxmlformats.org/officeDocument/2006/relationships/image" Target="../media/image12.png"/><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Overview of Microsoft 365</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endParaRPr lang="nb-NO" dirty="0"/>
          </a:p>
        </p:txBody>
      </p:sp>
      <p:sp>
        <p:nvSpPr>
          <p:cNvPr id="7" name="Picture Placeholder 6">
            <a:extLst>
              <a:ext uri="{FF2B5EF4-FFF2-40B4-BE49-F238E27FC236}">
                <a16:creationId xmlns:a16="http://schemas.microsoft.com/office/drawing/2014/main" id="{4B2EF7E7-AD56-4C43-AFDE-D8A5568BF037}"/>
              </a:ext>
            </a:extLst>
          </p:cNvPr>
          <p:cNvSpPr>
            <a:spLocks noGrp="1"/>
          </p:cNvSpPr>
          <p:nvPr>
            <p:ph type="pic" sz="quarter" idx="17"/>
          </p:nvPr>
        </p:nvSpPr>
        <p:spPr/>
      </p:sp>
    </p:spTree>
    <p:extLst>
      <p:ext uri="{BB962C8B-B14F-4D97-AF65-F5344CB8AC3E}">
        <p14:creationId xmlns:p14="http://schemas.microsoft.com/office/powerpoint/2010/main" val="2606095252"/>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584E32-DB4D-4B6B-98B2-D2C82318687F}"/>
              </a:ext>
            </a:extLst>
          </p:cNvPr>
          <p:cNvSpPr>
            <a:spLocks noGrp="1"/>
          </p:cNvSpPr>
          <p:nvPr>
            <p:ph type="title"/>
          </p:nvPr>
        </p:nvSpPr>
        <p:spPr/>
        <p:txBody>
          <a:bodyPr vert="horz" wrap="square" lIns="146304" tIns="91440" rIns="146304" bIns="91440" rtlCol="0" anchor="ctr">
            <a:normAutofit/>
          </a:bodyPr>
          <a:lstStyle/>
          <a:p>
            <a:r>
              <a:rPr lang="en-US" dirty="0"/>
              <a:t>Datacenters (Where is your data located?)</a:t>
            </a:r>
            <a:br>
              <a:rPr lang="en-US" dirty="0"/>
            </a:br>
            <a:endParaRPr lang="en-US" dirty="0"/>
          </a:p>
        </p:txBody>
      </p:sp>
      <p:sp>
        <p:nvSpPr>
          <p:cNvPr id="2" name="Text Placeholder 1">
            <a:extLst>
              <a:ext uri="{FF2B5EF4-FFF2-40B4-BE49-F238E27FC236}">
                <a16:creationId xmlns:a16="http://schemas.microsoft.com/office/drawing/2014/main" id="{EE0A4C51-72E4-4447-90F4-BC023BE857B2}"/>
              </a:ext>
            </a:extLst>
          </p:cNvPr>
          <p:cNvSpPr>
            <a:spLocks noGrp="1"/>
          </p:cNvSpPr>
          <p:nvPr>
            <p:ph type="body" sz="quarter" idx="10"/>
          </p:nvPr>
        </p:nvSpPr>
        <p:spPr/>
        <p:txBody>
          <a:bodyPr vert="horz" lIns="146304" tIns="91440" rIns="146304" bIns="91440" rtlCol="0" anchor="ctr">
            <a:normAutofit/>
          </a:bodyPr>
          <a:lstStyle/>
          <a:p>
            <a:pPr>
              <a:lnSpc>
                <a:spcPct val="90000"/>
              </a:lnSpc>
            </a:pPr>
            <a:r>
              <a:rPr lang="en-US" sz="2000" dirty="0"/>
              <a:t>Microsoft 365 helps you comply with your data residency requirements and regulations. </a:t>
            </a:r>
          </a:p>
          <a:p>
            <a:pPr>
              <a:lnSpc>
                <a:spcPct val="90000"/>
              </a:lnSpc>
            </a:pPr>
            <a:r>
              <a:rPr lang="en-US" sz="2000" dirty="0"/>
              <a:t>Geo-redundant datacenters provide failover capabilities and 99.9% uptime SLA.</a:t>
            </a:r>
          </a:p>
          <a:p>
            <a:pPr>
              <a:lnSpc>
                <a:spcPct val="90000"/>
              </a:lnSpc>
            </a:pPr>
            <a:r>
              <a:rPr lang="en-US" sz="2000" dirty="0"/>
              <a:t>New Microsoft 365 tenants are defaulted to a data center geography (Geo) based on the country of the transaction associated with that tenant’s first subscription.</a:t>
            </a:r>
          </a:p>
          <a:p>
            <a:pPr>
              <a:lnSpc>
                <a:spcPct val="90000"/>
              </a:lnSpc>
            </a:pPr>
            <a:r>
              <a:rPr lang="en-US" sz="2000" dirty="0"/>
              <a:t>Currently locations are in the United States, European Union, Asia Pacific (APAC), Australia, Canada, France, India, Japan, Korea, Germany, and United Kingdom.</a:t>
            </a:r>
          </a:p>
          <a:p>
            <a:pPr>
              <a:lnSpc>
                <a:spcPct val="90000"/>
              </a:lnSpc>
            </a:pPr>
            <a:r>
              <a:rPr lang="en-US" sz="2000" dirty="0"/>
              <a:t>To locate where data is stored, visit </a:t>
            </a:r>
            <a:r>
              <a:rPr lang="en-US" sz="2000" dirty="0">
                <a:hlinkClick r:id="rId3"/>
              </a:rPr>
              <a:t>https://products.office.com/en-us/where-is-your-data-located</a:t>
            </a:r>
            <a:r>
              <a:rPr lang="en-US" sz="2000" dirty="0"/>
              <a:t> </a:t>
            </a:r>
          </a:p>
        </p:txBody>
      </p:sp>
      <p:sp>
        <p:nvSpPr>
          <p:cNvPr id="4" name="TextBox 3">
            <a:extLst>
              <a:ext uri="{FF2B5EF4-FFF2-40B4-BE49-F238E27FC236}">
                <a16:creationId xmlns:a16="http://schemas.microsoft.com/office/drawing/2014/main" id="{14DF9C5D-9502-4FDE-94A8-94A324915FB8}"/>
              </a:ext>
            </a:extLst>
          </p:cNvPr>
          <p:cNvSpPr txBox="1"/>
          <p:nvPr/>
        </p:nvSpPr>
        <p:spPr>
          <a:xfrm>
            <a:off x="6544214" y="1189176"/>
            <a:ext cx="5378450" cy="4297362"/>
          </a:xfrm>
          <a:prstGeom prst="rect">
            <a:avLst/>
          </a:prstGeom>
        </p:spPr>
        <p:txBody>
          <a:bodyPr vert="horz" wrap="square" lIns="146304" tIns="91440" rIns="146304" bIns="91440" rtlCol="0">
            <a:normAutofit/>
          </a:bodyPr>
          <a:lstStyle/>
          <a:p>
            <a:pPr defTabSz="914367">
              <a:lnSpc>
                <a:spcPct val="90000"/>
              </a:lnSpc>
              <a:spcAft>
                <a:spcPts val="600"/>
              </a:spcAft>
              <a:buSzPct val="90000"/>
            </a:pPr>
            <a:endParaRPr lang="en-US" sz="3137" dirty="0">
              <a:gradFill>
                <a:gsLst>
                  <a:gs pos="1250">
                    <a:schemeClr val="tx2"/>
                  </a:gs>
                  <a:gs pos="99000">
                    <a:schemeClr val="tx2"/>
                  </a:gs>
                </a:gsLst>
                <a:lin ang="5400000" scaled="0"/>
              </a:gradFill>
            </a:endParaRPr>
          </a:p>
        </p:txBody>
      </p:sp>
    </p:spTree>
    <p:extLst>
      <p:ext uri="{BB962C8B-B14F-4D97-AF65-F5344CB8AC3E}">
        <p14:creationId xmlns:p14="http://schemas.microsoft.com/office/powerpoint/2010/main" val="3923716167"/>
      </p:ext>
    </p:extLst>
  </p:cSld>
  <p:clrMapOvr>
    <a:masterClrMapping/>
  </p:clrMapOvr>
  <p:transition>
    <p:fade/>
  </p:transition>
</p:sld>
</file>

<file path=ppt/slides/slide11.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365 Service Families</a:t>
            </a:r>
          </a:p>
        </p:txBody>
      </p:sp>
      <p:graphicFrame>
        <p:nvGraphicFramePr>
          <p:cNvPr id="6" name="Diagram 5"/>
          <p:cNvGraphicFramePr/>
          <p:nvPr>
            <p:extLst>
              <p:ext uri="{D42A27DB-BD31-4B8C-83A1-F6EECF244321}">
                <p14:modId xmlns:p14="http://schemas.microsoft.com/office/powerpoint/2010/main" val="2528669754"/>
              </p:ext>
            </p:extLst>
          </p:nvPr>
        </p:nvGraphicFramePr>
        <p:xfrm>
          <a:off x="1267297" y="1676352"/>
          <a:ext cx="9220200" cy="243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ext uri="{D42A27DB-BD31-4B8C-83A1-F6EECF244321}">
                <p14:modId xmlns:p14="http://schemas.microsoft.com/office/powerpoint/2010/main" val="746082167"/>
              </p:ext>
            </p:extLst>
          </p:nvPr>
        </p:nvGraphicFramePr>
        <p:xfrm>
          <a:off x="1267297" y="3893408"/>
          <a:ext cx="9220200" cy="12954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069919292"/>
      </p:ext>
    </p:extLst>
  </p:cSld>
  <p:clrMapOvr>
    <a:masterClrMapping/>
  </p:clrMapOvr>
  <p:transition>
    <p:fade/>
  </p:transition>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A4082E-83FD-4917-AD7E-7646DF76BE35}"/>
              </a:ext>
            </a:extLst>
          </p:cNvPr>
          <p:cNvSpPr>
            <a:spLocks noGrp="1"/>
          </p:cNvSpPr>
          <p:nvPr>
            <p:ph type="title"/>
          </p:nvPr>
        </p:nvSpPr>
        <p:spPr/>
        <p:txBody>
          <a:bodyPr/>
          <a:lstStyle/>
          <a:p>
            <a:r>
              <a:rPr lang="en-US" dirty="0"/>
              <a:t>Microsoft 365 Plans (Information Management)</a:t>
            </a:r>
          </a:p>
        </p:txBody>
      </p:sp>
      <p:pic>
        <p:nvPicPr>
          <p:cNvPr id="9" name="Picture 8">
            <a:extLst>
              <a:ext uri="{FF2B5EF4-FFF2-40B4-BE49-F238E27FC236}">
                <a16:creationId xmlns:a16="http://schemas.microsoft.com/office/drawing/2014/main" id="{B1C4908F-7BE3-43BD-9075-4620FBB11F1E}"/>
              </a:ext>
            </a:extLst>
          </p:cNvPr>
          <p:cNvPicPr>
            <a:picLocks noChangeAspect="1"/>
          </p:cNvPicPr>
          <p:nvPr/>
        </p:nvPicPr>
        <p:blipFill>
          <a:blip r:embed="rId3"/>
          <a:stretch>
            <a:fillRect/>
          </a:stretch>
        </p:blipFill>
        <p:spPr>
          <a:xfrm>
            <a:off x="2976282" y="1033458"/>
            <a:ext cx="6571130" cy="998286"/>
          </a:xfrm>
          <a:prstGeom prst="rect">
            <a:avLst/>
          </a:prstGeom>
        </p:spPr>
      </p:pic>
      <p:pic>
        <p:nvPicPr>
          <p:cNvPr id="11" name="Picture 10">
            <a:extLst>
              <a:ext uri="{FF2B5EF4-FFF2-40B4-BE49-F238E27FC236}">
                <a16:creationId xmlns:a16="http://schemas.microsoft.com/office/drawing/2014/main" id="{F723A94E-34F8-4030-81B0-402BB9F2A02A}"/>
              </a:ext>
            </a:extLst>
          </p:cNvPr>
          <p:cNvPicPr>
            <a:picLocks noChangeAspect="1"/>
          </p:cNvPicPr>
          <p:nvPr/>
        </p:nvPicPr>
        <p:blipFill>
          <a:blip r:embed="rId4"/>
          <a:stretch>
            <a:fillRect/>
          </a:stretch>
        </p:blipFill>
        <p:spPr>
          <a:xfrm>
            <a:off x="1891553" y="2031744"/>
            <a:ext cx="7655860" cy="2661230"/>
          </a:xfrm>
          <a:prstGeom prst="rect">
            <a:avLst/>
          </a:prstGeom>
        </p:spPr>
      </p:pic>
      <p:pic>
        <p:nvPicPr>
          <p:cNvPr id="17" name="Picture 16">
            <a:extLst>
              <a:ext uri="{FF2B5EF4-FFF2-40B4-BE49-F238E27FC236}">
                <a16:creationId xmlns:a16="http://schemas.microsoft.com/office/drawing/2014/main" id="{00858DE2-464B-4378-9636-E6CF713B3AFA}"/>
              </a:ext>
            </a:extLst>
          </p:cNvPr>
          <p:cNvPicPr>
            <a:picLocks noChangeAspect="1"/>
          </p:cNvPicPr>
          <p:nvPr/>
        </p:nvPicPr>
        <p:blipFill>
          <a:blip r:embed="rId5"/>
          <a:stretch>
            <a:fillRect/>
          </a:stretch>
        </p:blipFill>
        <p:spPr>
          <a:xfrm>
            <a:off x="1891553" y="4692974"/>
            <a:ext cx="7655859" cy="1666846"/>
          </a:xfrm>
          <a:prstGeom prst="rect">
            <a:avLst/>
          </a:prstGeom>
        </p:spPr>
      </p:pic>
    </p:spTree>
    <p:extLst>
      <p:ext uri="{BB962C8B-B14F-4D97-AF65-F5344CB8AC3E}">
        <p14:creationId xmlns:p14="http://schemas.microsoft.com/office/powerpoint/2010/main" val="1721511437"/>
      </p:ext>
    </p:extLst>
  </p:cSld>
  <p:clrMapOvr>
    <a:masterClrMapping/>
  </p:clrMapOvr>
  <p:transition>
    <p:fade/>
  </p:transition>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Management for Microsoft 365</a:t>
            </a:r>
          </a:p>
        </p:txBody>
      </p:sp>
      <p:pic>
        <p:nvPicPr>
          <p:cNvPr id="3" name="Picture 2">
            <a:extLst>
              <a:ext uri="{FF2B5EF4-FFF2-40B4-BE49-F238E27FC236}">
                <a16:creationId xmlns:a16="http://schemas.microsoft.com/office/drawing/2014/main" id="{595E9E8E-9BA0-4A24-8EF1-3BD431CD62C8}"/>
              </a:ext>
            </a:extLst>
          </p:cNvPr>
          <p:cNvPicPr>
            <a:picLocks noChangeAspect="1"/>
          </p:cNvPicPr>
          <p:nvPr/>
        </p:nvPicPr>
        <p:blipFill>
          <a:blip r:embed="rId3"/>
          <a:stretch>
            <a:fillRect/>
          </a:stretch>
        </p:blipFill>
        <p:spPr>
          <a:xfrm>
            <a:off x="1918855" y="1189176"/>
            <a:ext cx="8077200" cy="5610823"/>
          </a:xfrm>
          <a:prstGeom prst="rect">
            <a:avLst/>
          </a:prstGeom>
        </p:spPr>
      </p:pic>
    </p:spTree>
    <p:extLst>
      <p:ext uri="{BB962C8B-B14F-4D97-AF65-F5344CB8AC3E}">
        <p14:creationId xmlns:p14="http://schemas.microsoft.com/office/powerpoint/2010/main" val="3217005663"/>
      </p:ext>
    </p:extLst>
  </p:cSld>
  <p:clrMapOvr>
    <a:masterClrMapping/>
  </p:clrMapOvr>
  <p:transition>
    <p:fade/>
  </p:transition>
</p:sld>
</file>

<file path=ppt/slides/slide15.xml><?xml version="1.0" encoding="utf-8"?>
<p:sld xmlns:p14="http://schemas.microsoft.com/office/powerpoint/2010/main" xmlns:dgm="http://schemas.openxmlformats.org/drawingml/2006/diagram"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1283916921"/>
              </p:ext>
            </p:extLst>
          </p:nvPr>
        </p:nvGraphicFramePr>
        <p:xfrm>
          <a:off x="269239" y="1189177"/>
          <a:ext cx="11653523" cy="13758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Microsoft 365 Service Support</a:t>
            </a:r>
          </a:p>
        </p:txBody>
      </p:sp>
      <p:sp>
        <p:nvSpPr>
          <p:cNvPr id="16" name="Rectangle 15"/>
          <p:cNvSpPr/>
          <p:nvPr/>
        </p:nvSpPr>
        <p:spPr>
          <a:xfrm>
            <a:off x="381000" y="4292985"/>
            <a:ext cx="1828800" cy="418598"/>
          </a:xfrm>
          <a:prstGeom prst="rect">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lvl="1" algn="ctr"/>
            <a:endParaRPr lang="en-US" sz="1200" b="1" dirty="0">
              <a:solidFill>
                <a:schemeClr val="tx1"/>
              </a:solidFill>
              <a:latin typeface="+mj-lt"/>
            </a:endParaRPr>
          </a:p>
          <a:p>
            <a:pPr marL="0" lvl="1" algn="ctr"/>
            <a:r>
              <a:rPr lang="en-US" sz="1000" b="1" dirty="0">
                <a:solidFill>
                  <a:schemeClr val="tx1"/>
                </a:solidFill>
                <a:latin typeface="+mj-lt"/>
              </a:rPr>
              <a:t>Phone support for technical and non-technical issues</a:t>
            </a:r>
          </a:p>
          <a:p>
            <a:pPr algn="ctr"/>
            <a:endParaRPr lang="en-US" sz="1200" b="1" dirty="0">
              <a:solidFill>
                <a:schemeClr val="tx1"/>
              </a:solidFill>
              <a:latin typeface="+mj-lt"/>
            </a:endParaRPr>
          </a:p>
        </p:txBody>
      </p:sp>
      <p:pic>
        <p:nvPicPr>
          <p:cNvPr id="4" name="Picture 3">
            <a:extLst>
              <a:ext uri="{FF2B5EF4-FFF2-40B4-BE49-F238E27FC236}">
                <a16:creationId xmlns:a16="http://schemas.microsoft.com/office/drawing/2014/main" id="{98B6439B-569D-4EFD-9370-E497C87F5A22}"/>
              </a:ext>
            </a:extLst>
          </p:cNvPr>
          <p:cNvPicPr>
            <a:picLocks noChangeAspect="1"/>
          </p:cNvPicPr>
          <p:nvPr/>
        </p:nvPicPr>
        <p:blipFill>
          <a:blip r:embed="rId8"/>
          <a:stretch>
            <a:fillRect/>
          </a:stretch>
        </p:blipFill>
        <p:spPr>
          <a:xfrm>
            <a:off x="3124200" y="2573725"/>
            <a:ext cx="5562600" cy="4218086"/>
          </a:xfrm>
          <a:prstGeom prst="rect">
            <a:avLst/>
          </a:prstGeom>
        </p:spPr>
      </p:pic>
      <p:cxnSp>
        <p:nvCxnSpPr>
          <p:cNvPr id="8" name="Straight Arrow Connector 7"/>
          <p:cNvCxnSpPr>
            <a:cxnSpLocks/>
          </p:cNvCxnSpPr>
          <p:nvPr/>
        </p:nvCxnSpPr>
        <p:spPr>
          <a:xfrm>
            <a:off x="2268583" y="4502530"/>
            <a:ext cx="914400" cy="218008"/>
          </a:xfrm>
          <a:prstGeom prst="straightConnector1">
            <a:avLst/>
          </a:prstGeom>
          <a:ln>
            <a:headEnd type="none"/>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431945737"/>
      </p:ext>
    </p:extLst>
  </p:cSld>
  <p:clrMapOvr>
    <a:masterClrMapping/>
  </p:clrMapOvr>
  <p:transition>
    <p:fade/>
  </p:transition>
</p:sld>
</file>

<file path=ppt/slides/slide16.xml><?xml version="1.0" encoding="utf-8"?>
<p:sld xmlns:p14="http://schemas.microsoft.com/office/powerpoint/2010/main" xmlns:dgm="http://schemas.openxmlformats.org/drawingml/2006/diagram"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481532049"/>
              </p:ext>
            </p:extLst>
          </p:nvPr>
        </p:nvGraphicFramePr>
        <p:xfrm>
          <a:off x="269239" y="1189177"/>
          <a:ext cx="11653523" cy="13758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Microsoft 365 Service Health</a:t>
            </a:r>
          </a:p>
        </p:txBody>
      </p:sp>
      <p:sp>
        <p:nvSpPr>
          <p:cNvPr id="16" name="Rectangle 15"/>
          <p:cNvSpPr/>
          <p:nvPr/>
        </p:nvSpPr>
        <p:spPr>
          <a:xfrm>
            <a:off x="152400" y="3043761"/>
            <a:ext cx="1905000" cy="1375839"/>
          </a:xfrm>
          <a:prstGeom prst="rect">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lvl="1" algn="ctr"/>
            <a:r>
              <a:rPr lang="en-US" sz="1000" dirty="0">
                <a:solidFill>
                  <a:schemeClr val="tx1"/>
                </a:solidFill>
                <a:latin typeface="+mj-lt"/>
              </a:rPr>
              <a:t>Service health for </a:t>
            </a:r>
          </a:p>
          <a:p>
            <a:pPr marL="0" lvl="1" algn="ctr"/>
            <a:r>
              <a:rPr lang="en-US" sz="1000" b="1" dirty="0">
                <a:solidFill>
                  <a:schemeClr val="tx1"/>
                </a:solidFill>
                <a:latin typeface="+mj-lt"/>
              </a:rPr>
              <a:t>Microsoft 365, </a:t>
            </a:r>
          </a:p>
          <a:p>
            <a:pPr marL="0" lvl="1" algn="ctr"/>
            <a:r>
              <a:rPr lang="en-US" sz="1000" b="1" dirty="0">
                <a:solidFill>
                  <a:schemeClr val="tx1"/>
                </a:solidFill>
                <a:latin typeface="+mj-lt"/>
              </a:rPr>
              <a:t>Yammer, </a:t>
            </a:r>
          </a:p>
          <a:p>
            <a:pPr marL="0" lvl="1" algn="ctr"/>
            <a:r>
              <a:rPr lang="en-US" sz="1000" b="1" dirty="0">
                <a:solidFill>
                  <a:schemeClr val="tx1"/>
                </a:solidFill>
                <a:latin typeface="+mj-lt"/>
              </a:rPr>
              <a:t>Microsoft Dynamics CRM, and </a:t>
            </a:r>
          </a:p>
          <a:p>
            <a:pPr marL="0" lvl="1" algn="ctr"/>
            <a:r>
              <a:rPr lang="en-US" sz="1000" b="1" dirty="0">
                <a:solidFill>
                  <a:schemeClr val="tx1"/>
                </a:solidFill>
                <a:latin typeface="+mj-lt"/>
              </a:rPr>
              <a:t>Microsoft Intune cloud services </a:t>
            </a:r>
          </a:p>
        </p:txBody>
      </p:sp>
      <p:cxnSp>
        <p:nvCxnSpPr>
          <p:cNvPr id="8" name="Straight Arrow Connector 7"/>
          <p:cNvCxnSpPr>
            <a:cxnSpLocks/>
          </p:cNvCxnSpPr>
          <p:nvPr/>
        </p:nvCxnSpPr>
        <p:spPr>
          <a:xfrm>
            <a:off x="1179416" y="4419600"/>
            <a:ext cx="1411384" cy="838200"/>
          </a:xfrm>
          <a:prstGeom prst="straightConnector1">
            <a:avLst/>
          </a:prstGeom>
          <a:ln w="19050">
            <a:headEnd type="none"/>
            <a:tailEnd type="triangle"/>
          </a:ln>
        </p:spPr>
        <p:style>
          <a:lnRef idx="3">
            <a:schemeClr val="accent6"/>
          </a:lnRef>
          <a:fillRef idx="0">
            <a:schemeClr val="accent6"/>
          </a:fillRef>
          <a:effectRef idx="2">
            <a:schemeClr val="accent6"/>
          </a:effectRef>
          <a:fontRef idx="minor">
            <a:schemeClr val="tx1"/>
          </a:fontRef>
        </p:style>
      </p:cxnSp>
      <p:sp>
        <p:nvSpPr>
          <p:cNvPr id="32" name="Rectangle 31">
            <a:extLst>
              <a:ext uri="{FF2B5EF4-FFF2-40B4-BE49-F238E27FC236}">
                <a16:creationId xmlns:a16="http://schemas.microsoft.com/office/drawing/2014/main" id="{62AC0DE9-9D68-43DD-87DF-22F984CCC1C1}"/>
              </a:ext>
            </a:extLst>
          </p:cNvPr>
          <p:cNvSpPr/>
          <p:nvPr/>
        </p:nvSpPr>
        <p:spPr>
          <a:xfrm>
            <a:off x="8974931" y="3064819"/>
            <a:ext cx="1252538" cy="490843"/>
          </a:xfrm>
          <a:prstGeom prst="rect">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lvl="1" algn="ctr"/>
            <a:r>
              <a:rPr lang="en-US" sz="1050" b="1" dirty="0">
                <a:solidFill>
                  <a:schemeClr val="tx1"/>
                </a:solidFill>
                <a:latin typeface="+mj-lt"/>
              </a:rPr>
              <a:t>View Historical Incidents and Advisories</a:t>
            </a:r>
          </a:p>
        </p:txBody>
      </p:sp>
      <p:sp>
        <p:nvSpPr>
          <p:cNvPr id="41" name="Rectangle 40">
            <a:extLst>
              <a:ext uri="{FF2B5EF4-FFF2-40B4-BE49-F238E27FC236}">
                <a16:creationId xmlns:a16="http://schemas.microsoft.com/office/drawing/2014/main" id="{A1B82FBE-9CAD-49EE-9B61-9533E4E0A01A}"/>
              </a:ext>
            </a:extLst>
          </p:cNvPr>
          <p:cNvSpPr/>
          <p:nvPr/>
        </p:nvSpPr>
        <p:spPr>
          <a:xfrm>
            <a:off x="9448800" y="5508909"/>
            <a:ext cx="1252538" cy="567043"/>
          </a:xfrm>
          <a:prstGeom prst="rect">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lvl="1" algn="ctr"/>
            <a:r>
              <a:rPr lang="en-US" sz="1050" b="1" dirty="0">
                <a:solidFill>
                  <a:schemeClr val="tx1"/>
                </a:solidFill>
                <a:latin typeface="+mj-lt"/>
              </a:rPr>
              <a:t>Incidents and advisories</a:t>
            </a:r>
          </a:p>
        </p:txBody>
      </p:sp>
      <p:pic>
        <p:nvPicPr>
          <p:cNvPr id="3" name="Picture 2">
            <a:extLst>
              <a:ext uri="{FF2B5EF4-FFF2-40B4-BE49-F238E27FC236}">
                <a16:creationId xmlns:a16="http://schemas.microsoft.com/office/drawing/2014/main" id="{F203DB61-894F-4A93-9990-5D72FCA28913}"/>
              </a:ext>
            </a:extLst>
          </p:cNvPr>
          <p:cNvPicPr>
            <a:picLocks noChangeAspect="1"/>
          </p:cNvPicPr>
          <p:nvPr/>
        </p:nvPicPr>
        <p:blipFill>
          <a:blip r:embed="rId8"/>
          <a:stretch>
            <a:fillRect/>
          </a:stretch>
        </p:blipFill>
        <p:spPr>
          <a:xfrm>
            <a:off x="2590800" y="2612764"/>
            <a:ext cx="5605462" cy="4167365"/>
          </a:xfrm>
          <a:prstGeom prst="rect">
            <a:avLst/>
          </a:prstGeom>
        </p:spPr>
      </p:pic>
      <p:cxnSp>
        <p:nvCxnSpPr>
          <p:cNvPr id="14" name="Straight Arrow Connector 13">
            <a:extLst>
              <a:ext uri="{FF2B5EF4-FFF2-40B4-BE49-F238E27FC236}">
                <a16:creationId xmlns:a16="http://schemas.microsoft.com/office/drawing/2014/main" id="{6E4951E4-F10B-442D-9015-1B639494549C}"/>
              </a:ext>
            </a:extLst>
          </p:cNvPr>
          <p:cNvCxnSpPr>
            <a:cxnSpLocks/>
          </p:cNvCxnSpPr>
          <p:nvPr/>
        </p:nvCxnSpPr>
        <p:spPr>
          <a:xfrm flipV="1">
            <a:off x="2057400" y="3352800"/>
            <a:ext cx="2057400" cy="152400"/>
          </a:xfrm>
          <a:prstGeom prst="straightConnector1">
            <a:avLst/>
          </a:prstGeom>
          <a:ln w="19050">
            <a:headEnd type="none"/>
            <a:tailEnd type="triangle"/>
          </a:ln>
        </p:spPr>
        <p:style>
          <a:lnRef idx="3">
            <a:schemeClr val="accent6"/>
          </a:lnRef>
          <a:fillRef idx="0">
            <a:schemeClr val="accent6"/>
          </a:fillRef>
          <a:effectRef idx="2">
            <a:schemeClr val="accent6"/>
          </a:effectRef>
          <a:fontRef idx="minor">
            <a:schemeClr val="tx1"/>
          </a:fontRef>
        </p:style>
      </p:cxnSp>
      <p:cxnSp>
        <p:nvCxnSpPr>
          <p:cNvPr id="42" name="Straight Arrow Connector 41">
            <a:extLst>
              <a:ext uri="{FF2B5EF4-FFF2-40B4-BE49-F238E27FC236}">
                <a16:creationId xmlns:a16="http://schemas.microsoft.com/office/drawing/2014/main" id="{4163490B-6451-400B-82EE-5637D9E67497}"/>
              </a:ext>
            </a:extLst>
          </p:cNvPr>
          <p:cNvCxnSpPr>
            <a:cxnSpLocks/>
            <a:stCxn id="41" idx="1"/>
          </p:cNvCxnSpPr>
          <p:nvPr/>
        </p:nvCxnSpPr>
        <p:spPr>
          <a:xfrm flipH="1" flipV="1">
            <a:off x="6705600" y="4974279"/>
            <a:ext cx="2743200" cy="818152"/>
          </a:xfrm>
          <a:prstGeom prst="straightConnector1">
            <a:avLst/>
          </a:prstGeom>
          <a:ln w="19050">
            <a:headEnd type="none"/>
            <a:tailEnd type="triangle"/>
          </a:ln>
        </p:spPr>
        <p:style>
          <a:lnRef idx="3">
            <a:schemeClr val="accent6"/>
          </a:lnRef>
          <a:fillRef idx="0">
            <a:schemeClr val="accent6"/>
          </a:fillRef>
          <a:effectRef idx="2">
            <a:schemeClr val="accent6"/>
          </a:effectRef>
          <a:fontRef idx="minor">
            <a:schemeClr val="tx1"/>
          </a:fontRef>
        </p:style>
      </p:cxnSp>
      <p:cxnSp>
        <p:nvCxnSpPr>
          <p:cNvPr id="33" name="Straight Arrow Connector 32">
            <a:extLst>
              <a:ext uri="{FF2B5EF4-FFF2-40B4-BE49-F238E27FC236}">
                <a16:creationId xmlns:a16="http://schemas.microsoft.com/office/drawing/2014/main" id="{554B6AEC-F2D4-4A3A-8BBE-9FF088790EC6}"/>
              </a:ext>
            </a:extLst>
          </p:cNvPr>
          <p:cNvCxnSpPr>
            <a:cxnSpLocks/>
            <a:stCxn id="32" idx="1"/>
          </p:cNvCxnSpPr>
          <p:nvPr/>
        </p:nvCxnSpPr>
        <p:spPr>
          <a:xfrm flipH="1">
            <a:off x="5867400" y="3310241"/>
            <a:ext cx="3107531" cy="42559"/>
          </a:xfrm>
          <a:prstGeom prst="straightConnector1">
            <a:avLst/>
          </a:prstGeom>
          <a:ln w="19050">
            <a:headEnd type="none"/>
            <a:tailEnd type="triangl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76740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1" grpId="0" animBg="1"/>
    </p:bldLst>
  </p:timing>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365 Service Health - Details</a:t>
            </a:r>
          </a:p>
        </p:txBody>
      </p:sp>
      <p:sp>
        <p:nvSpPr>
          <p:cNvPr id="21" name="Rectangle 20">
            <a:extLst>
              <a:ext uri="{FF2B5EF4-FFF2-40B4-BE49-F238E27FC236}">
                <a16:creationId xmlns:a16="http://schemas.microsoft.com/office/drawing/2014/main" id="{8E0E80C8-E598-4080-9AFC-21771A18C3C0}"/>
              </a:ext>
            </a:extLst>
          </p:cNvPr>
          <p:cNvSpPr/>
          <p:nvPr/>
        </p:nvSpPr>
        <p:spPr>
          <a:xfrm>
            <a:off x="9948862" y="1460333"/>
            <a:ext cx="1905000" cy="1066800"/>
          </a:xfrm>
          <a:prstGeom prst="rect">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lvl="1" algn="ctr"/>
            <a:r>
              <a:rPr lang="sv-SE" sz="1200" b="1" dirty="0">
                <a:solidFill>
                  <a:schemeClr val="tx1"/>
                </a:solidFill>
                <a:latin typeface="+mj-lt"/>
              </a:rPr>
              <a:t>View details of any posted service health</a:t>
            </a:r>
            <a:endParaRPr lang="en-US" sz="1200" b="1" dirty="0">
              <a:solidFill>
                <a:schemeClr val="tx1"/>
              </a:solidFill>
              <a:latin typeface="+mj-lt"/>
            </a:endParaRPr>
          </a:p>
        </p:txBody>
      </p:sp>
      <p:pic>
        <p:nvPicPr>
          <p:cNvPr id="3" name="Picture 2">
            <a:extLst>
              <a:ext uri="{FF2B5EF4-FFF2-40B4-BE49-F238E27FC236}">
                <a16:creationId xmlns:a16="http://schemas.microsoft.com/office/drawing/2014/main" id="{5542D210-AAA7-4548-86B3-7762720E1593}"/>
              </a:ext>
            </a:extLst>
          </p:cNvPr>
          <p:cNvPicPr>
            <a:picLocks noChangeAspect="1"/>
          </p:cNvPicPr>
          <p:nvPr/>
        </p:nvPicPr>
        <p:blipFill>
          <a:blip r:embed="rId3"/>
          <a:stretch>
            <a:fillRect/>
          </a:stretch>
        </p:blipFill>
        <p:spPr>
          <a:xfrm>
            <a:off x="1447800" y="1244040"/>
            <a:ext cx="6629756" cy="5052119"/>
          </a:xfrm>
          <a:prstGeom prst="rect">
            <a:avLst/>
          </a:prstGeom>
        </p:spPr>
      </p:pic>
      <p:pic>
        <p:nvPicPr>
          <p:cNvPr id="4" name="Picture 3">
            <a:extLst>
              <a:ext uri="{FF2B5EF4-FFF2-40B4-BE49-F238E27FC236}">
                <a16:creationId xmlns:a16="http://schemas.microsoft.com/office/drawing/2014/main" id="{FCD91353-7D78-417C-9A46-951D57CDD1C7}"/>
              </a:ext>
            </a:extLst>
          </p:cNvPr>
          <p:cNvPicPr>
            <a:picLocks noChangeAspect="1"/>
          </p:cNvPicPr>
          <p:nvPr/>
        </p:nvPicPr>
        <p:blipFill>
          <a:blip r:embed="rId4"/>
          <a:stretch>
            <a:fillRect/>
          </a:stretch>
        </p:blipFill>
        <p:spPr>
          <a:xfrm>
            <a:off x="1447800" y="1244040"/>
            <a:ext cx="7786600" cy="4648199"/>
          </a:xfrm>
          <a:prstGeom prst="rect">
            <a:avLst/>
          </a:prstGeom>
        </p:spPr>
      </p:pic>
      <p:cxnSp>
        <p:nvCxnSpPr>
          <p:cNvPr id="22" name="Straight Arrow Connector 21">
            <a:extLst>
              <a:ext uri="{FF2B5EF4-FFF2-40B4-BE49-F238E27FC236}">
                <a16:creationId xmlns:a16="http://schemas.microsoft.com/office/drawing/2014/main" id="{76DFC336-C0DF-45F4-A975-FC07A143B04A}"/>
              </a:ext>
            </a:extLst>
          </p:cNvPr>
          <p:cNvCxnSpPr>
            <a:cxnSpLocks/>
          </p:cNvCxnSpPr>
          <p:nvPr/>
        </p:nvCxnSpPr>
        <p:spPr>
          <a:xfrm flipH="1">
            <a:off x="9144000" y="2057400"/>
            <a:ext cx="804862" cy="0"/>
          </a:xfrm>
          <a:prstGeom prst="straightConnector1">
            <a:avLst/>
          </a:prstGeom>
          <a:ln w="19050">
            <a:headEnd type="none"/>
            <a:tailEnd type="triangl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830363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365 Message Center</a:t>
            </a:r>
          </a:p>
        </p:txBody>
      </p:sp>
      <p:sp>
        <p:nvSpPr>
          <p:cNvPr id="16" name="Rectangle 15"/>
          <p:cNvSpPr/>
          <p:nvPr/>
        </p:nvSpPr>
        <p:spPr>
          <a:xfrm>
            <a:off x="269240" y="3756727"/>
            <a:ext cx="1407160" cy="1120073"/>
          </a:xfrm>
          <a:prstGeom prst="rect">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lvl="1" algn="ctr"/>
            <a:r>
              <a:rPr lang="sv-SE" sz="1200" b="1" dirty="0">
                <a:solidFill>
                  <a:schemeClr val="tx1"/>
                </a:solidFill>
                <a:latin typeface="+mj-lt"/>
              </a:rPr>
              <a:t>Access Microsoft 365 Message Center from Microsoft 365 Admin center</a:t>
            </a:r>
            <a:endParaRPr lang="en-US" sz="1000" b="1" dirty="0">
              <a:solidFill>
                <a:schemeClr val="tx1"/>
              </a:solidFill>
              <a:latin typeface="+mj-lt"/>
            </a:endParaRPr>
          </a:p>
        </p:txBody>
      </p:sp>
      <p:sp>
        <p:nvSpPr>
          <p:cNvPr id="32" name="Rectangle 31">
            <a:extLst>
              <a:ext uri="{FF2B5EF4-FFF2-40B4-BE49-F238E27FC236}">
                <a16:creationId xmlns:a16="http://schemas.microsoft.com/office/drawing/2014/main" id="{62AC0DE9-9D68-43DD-87DF-22F984CCC1C1}"/>
              </a:ext>
            </a:extLst>
          </p:cNvPr>
          <p:cNvSpPr/>
          <p:nvPr/>
        </p:nvSpPr>
        <p:spPr>
          <a:xfrm>
            <a:off x="10290483" y="3390900"/>
            <a:ext cx="1252538" cy="490843"/>
          </a:xfrm>
          <a:prstGeom prst="rect">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lvl="1" algn="ctr"/>
            <a:r>
              <a:rPr lang="en-US" sz="1050" b="1" dirty="0">
                <a:solidFill>
                  <a:schemeClr val="tx1"/>
                </a:solidFill>
                <a:latin typeface="+mj-lt"/>
              </a:rPr>
              <a:t>High Importance Updates</a:t>
            </a:r>
          </a:p>
        </p:txBody>
      </p:sp>
      <p:sp>
        <p:nvSpPr>
          <p:cNvPr id="35" name="Rectangle 34">
            <a:extLst>
              <a:ext uri="{FF2B5EF4-FFF2-40B4-BE49-F238E27FC236}">
                <a16:creationId xmlns:a16="http://schemas.microsoft.com/office/drawing/2014/main" id="{98EF4745-E943-4D3C-AEF7-3626B12D341A}"/>
              </a:ext>
            </a:extLst>
          </p:cNvPr>
          <p:cNvSpPr/>
          <p:nvPr/>
        </p:nvSpPr>
        <p:spPr>
          <a:xfrm>
            <a:off x="10286243" y="4152940"/>
            <a:ext cx="1252538" cy="490843"/>
          </a:xfrm>
          <a:prstGeom prst="rect">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lvl="1" algn="ctr"/>
            <a:r>
              <a:rPr lang="sv-SE" sz="1050" b="1" dirty="0">
                <a:solidFill>
                  <a:schemeClr val="tx1"/>
                </a:solidFill>
                <a:latin typeface="+mj-lt"/>
              </a:rPr>
              <a:t>Message Categories</a:t>
            </a:r>
            <a:endParaRPr lang="en-US" sz="1050" b="1" dirty="0">
              <a:solidFill>
                <a:schemeClr val="tx1"/>
              </a:solidFill>
              <a:latin typeface="+mj-lt"/>
            </a:endParaRPr>
          </a:p>
        </p:txBody>
      </p:sp>
      <p:pic>
        <p:nvPicPr>
          <p:cNvPr id="4" name="Picture 3">
            <a:extLst>
              <a:ext uri="{FF2B5EF4-FFF2-40B4-BE49-F238E27FC236}">
                <a16:creationId xmlns:a16="http://schemas.microsoft.com/office/drawing/2014/main" id="{D287DB20-C5EF-4359-B0F5-888D318F97C1}"/>
              </a:ext>
            </a:extLst>
          </p:cNvPr>
          <p:cNvPicPr>
            <a:picLocks noChangeAspect="1"/>
          </p:cNvPicPr>
          <p:nvPr/>
        </p:nvPicPr>
        <p:blipFill>
          <a:blip r:embed="rId3"/>
          <a:stretch>
            <a:fillRect/>
          </a:stretch>
        </p:blipFill>
        <p:spPr>
          <a:xfrm>
            <a:off x="1800565" y="2667000"/>
            <a:ext cx="8379991" cy="3901489"/>
          </a:xfrm>
          <a:prstGeom prst="rect">
            <a:avLst/>
          </a:prstGeom>
        </p:spPr>
      </p:pic>
      <p:cxnSp>
        <p:nvCxnSpPr>
          <p:cNvPr id="8" name="Straight Arrow Connector 7"/>
          <p:cNvCxnSpPr>
            <a:cxnSpLocks/>
            <a:stCxn id="16" idx="2"/>
          </p:cNvCxnSpPr>
          <p:nvPr/>
        </p:nvCxnSpPr>
        <p:spPr>
          <a:xfrm>
            <a:off x="972820" y="4876800"/>
            <a:ext cx="928697" cy="1191711"/>
          </a:xfrm>
          <a:prstGeom prst="straightConnector1">
            <a:avLst/>
          </a:prstGeom>
          <a:ln w="19050">
            <a:headEnd type="none"/>
            <a:tailEnd type="triangle"/>
          </a:ln>
        </p:spPr>
        <p:style>
          <a:lnRef idx="3">
            <a:schemeClr val="accent6"/>
          </a:lnRef>
          <a:fillRef idx="0">
            <a:schemeClr val="accent6"/>
          </a:fillRef>
          <a:effectRef idx="2">
            <a:schemeClr val="accent6"/>
          </a:effectRef>
          <a:fontRef idx="minor">
            <a:schemeClr val="tx1"/>
          </a:fontRef>
        </p:style>
      </p:cxnSp>
      <p:cxnSp>
        <p:nvCxnSpPr>
          <p:cNvPr id="36" name="Straight Arrow Connector 35">
            <a:extLst>
              <a:ext uri="{FF2B5EF4-FFF2-40B4-BE49-F238E27FC236}">
                <a16:creationId xmlns:a16="http://schemas.microsoft.com/office/drawing/2014/main" id="{3C95194D-D67B-40EB-AFE9-D01D89A964EA}"/>
              </a:ext>
            </a:extLst>
          </p:cNvPr>
          <p:cNvCxnSpPr>
            <a:cxnSpLocks/>
            <a:stCxn id="35" idx="1"/>
          </p:cNvCxnSpPr>
          <p:nvPr/>
        </p:nvCxnSpPr>
        <p:spPr>
          <a:xfrm flipH="1">
            <a:off x="8991600" y="4398362"/>
            <a:ext cx="1294643" cy="136674"/>
          </a:xfrm>
          <a:prstGeom prst="straightConnector1">
            <a:avLst/>
          </a:prstGeom>
          <a:ln w="19050">
            <a:headEnd type="none"/>
            <a:tailEnd type="triangle"/>
          </a:ln>
        </p:spPr>
        <p:style>
          <a:lnRef idx="3">
            <a:schemeClr val="accent6"/>
          </a:lnRef>
          <a:fillRef idx="0">
            <a:schemeClr val="accent6"/>
          </a:fillRef>
          <a:effectRef idx="2">
            <a:schemeClr val="accent6"/>
          </a:effectRef>
          <a:fontRef idx="minor">
            <a:schemeClr val="tx1"/>
          </a:fontRef>
        </p:style>
      </p:cxnSp>
      <p:cxnSp>
        <p:nvCxnSpPr>
          <p:cNvPr id="33" name="Straight Arrow Connector 32">
            <a:extLst>
              <a:ext uri="{FF2B5EF4-FFF2-40B4-BE49-F238E27FC236}">
                <a16:creationId xmlns:a16="http://schemas.microsoft.com/office/drawing/2014/main" id="{554B6AEC-F2D4-4A3A-8BBE-9FF088790EC6}"/>
              </a:ext>
            </a:extLst>
          </p:cNvPr>
          <p:cNvCxnSpPr>
            <a:cxnSpLocks/>
            <a:stCxn id="32" idx="1"/>
          </p:cNvCxnSpPr>
          <p:nvPr/>
        </p:nvCxnSpPr>
        <p:spPr>
          <a:xfrm flipH="1">
            <a:off x="4953000" y="3636322"/>
            <a:ext cx="5337483" cy="299108"/>
          </a:xfrm>
          <a:prstGeom prst="straightConnector1">
            <a:avLst/>
          </a:prstGeom>
          <a:ln w="19050">
            <a:headEnd type="none"/>
            <a:tailEnd type="triangle"/>
          </a:ln>
        </p:spPr>
        <p:style>
          <a:lnRef idx="3">
            <a:schemeClr val="accent6"/>
          </a:lnRef>
          <a:fillRef idx="0">
            <a:schemeClr val="accent6"/>
          </a:fillRef>
          <a:effectRef idx="2">
            <a:schemeClr val="accent6"/>
          </a:effectRef>
          <a:fontRef idx="minor">
            <a:schemeClr val="tx1"/>
          </a:fontRef>
        </p:style>
      </p:cxnSp>
      <p:graphicFrame>
        <p:nvGraphicFramePr>
          <p:cNvPr id="15" name="Diagram 14">
            <a:extLst>
              <a:ext uri="{FF2B5EF4-FFF2-40B4-BE49-F238E27FC236}">
                <a16:creationId xmlns:a16="http://schemas.microsoft.com/office/drawing/2014/main" id="{609D33EC-41BB-4C5F-AA72-E97CD638DD0B}"/>
              </a:ext>
            </a:extLst>
          </p:cNvPr>
          <p:cNvGraphicFramePr/>
          <p:nvPr>
            <p:extLst>
              <p:ext uri="{D42A27DB-BD31-4B8C-83A1-F6EECF244321}">
                <p14:modId xmlns:p14="http://schemas.microsoft.com/office/powerpoint/2010/main" val="426685614"/>
              </p:ext>
            </p:extLst>
          </p:nvPr>
        </p:nvGraphicFramePr>
        <p:xfrm>
          <a:off x="269239" y="1189177"/>
          <a:ext cx="11653523" cy="13758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020522985"/>
      </p:ext>
    </p:extLst>
  </p:cSld>
  <p:clrMapOvr>
    <a:masterClrMapping/>
  </p:clrMapOvr>
  <p:transition>
    <p:fade/>
  </p:transition>
</p:sld>
</file>

<file path=ppt/slides/slide19.xml><?xml version="1.0" encoding="utf-8"?>
<p:sld xmlns:p14="http://schemas.microsoft.com/office/powerpoint/2010/main" xmlns:dgm="http://schemas.openxmlformats.org/drawingml/2006/diagram"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491776918"/>
              </p:ext>
            </p:extLst>
          </p:nvPr>
        </p:nvGraphicFramePr>
        <p:xfrm>
          <a:off x="269239" y="1189177"/>
          <a:ext cx="11653523" cy="13758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Microsoft 365 Message Center - Details</a:t>
            </a:r>
          </a:p>
        </p:txBody>
      </p:sp>
      <p:pic>
        <p:nvPicPr>
          <p:cNvPr id="9" name="Picture 8">
            <a:extLst>
              <a:ext uri="{FF2B5EF4-FFF2-40B4-BE49-F238E27FC236}">
                <a16:creationId xmlns:a16="http://schemas.microsoft.com/office/drawing/2014/main" id="{AE24D0D6-BE48-4F5C-8983-52BF288FA3F2}"/>
              </a:ext>
            </a:extLst>
          </p:cNvPr>
          <p:cNvPicPr>
            <a:picLocks noChangeAspect="1"/>
          </p:cNvPicPr>
          <p:nvPr/>
        </p:nvPicPr>
        <p:blipFill>
          <a:blip r:embed="rId8"/>
          <a:stretch>
            <a:fillRect/>
          </a:stretch>
        </p:blipFill>
        <p:spPr>
          <a:xfrm>
            <a:off x="2209830" y="2698881"/>
            <a:ext cx="8077170" cy="3869607"/>
          </a:xfrm>
          <a:prstGeom prst="rect">
            <a:avLst/>
          </a:prstGeom>
        </p:spPr>
      </p:pic>
    </p:spTree>
    <p:extLst>
      <p:ext uri="{BB962C8B-B14F-4D97-AF65-F5344CB8AC3E}">
        <p14:creationId xmlns:p14="http://schemas.microsoft.com/office/powerpoint/2010/main" val="4234025306"/>
      </p:ext>
    </p:extLst>
  </p:cSld>
  <p:clrMapOvr>
    <a:masterClrMapping/>
  </p:clrMapOvr>
  <p:transition>
    <p:fade/>
  </p:transition>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116370"/>
      </p:ext>
    </p:extLst>
  </p:cSld>
  <p:clrMapOvr>
    <a:masterClrMapping/>
  </p:clrMapOvr>
</p:sld>
</file>

<file path=ppt/slides/slide20.xml><?xml version="1.0" encoding="utf-8"?>
<p:sld xmlns:p14="http://schemas.microsoft.com/office/powerpoint/2010/main" xmlns:dgm="http://schemas.openxmlformats.org/drawingml/2006/diagram"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666265316"/>
              </p:ext>
            </p:extLst>
          </p:nvPr>
        </p:nvGraphicFramePr>
        <p:xfrm>
          <a:off x="223855" y="902365"/>
          <a:ext cx="11653523" cy="13758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Microsoft 365 Message Center – Message Preferences</a:t>
            </a:r>
          </a:p>
        </p:txBody>
      </p:sp>
      <p:sp>
        <p:nvSpPr>
          <p:cNvPr id="32" name="Rectangle 31">
            <a:extLst>
              <a:ext uri="{FF2B5EF4-FFF2-40B4-BE49-F238E27FC236}">
                <a16:creationId xmlns:a16="http://schemas.microsoft.com/office/drawing/2014/main" id="{62AC0DE9-9D68-43DD-87DF-22F984CCC1C1}"/>
              </a:ext>
            </a:extLst>
          </p:cNvPr>
          <p:cNvSpPr/>
          <p:nvPr/>
        </p:nvSpPr>
        <p:spPr>
          <a:xfrm>
            <a:off x="685800" y="3475633"/>
            <a:ext cx="1252538" cy="490843"/>
          </a:xfrm>
          <a:prstGeom prst="rect">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lvl="1" algn="ctr"/>
            <a:r>
              <a:rPr lang="sv-SE" sz="1050" b="1" dirty="0">
                <a:solidFill>
                  <a:schemeClr val="tx1"/>
                </a:solidFill>
                <a:latin typeface="+mj-lt"/>
              </a:rPr>
              <a:t>Message Perferences</a:t>
            </a:r>
            <a:endParaRPr lang="en-US" sz="1050" b="1" dirty="0">
              <a:solidFill>
                <a:schemeClr val="tx1"/>
              </a:solidFill>
              <a:latin typeface="+mj-lt"/>
            </a:endParaRPr>
          </a:p>
        </p:txBody>
      </p:sp>
      <p:pic>
        <p:nvPicPr>
          <p:cNvPr id="8" name="Picture 7">
            <a:extLst>
              <a:ext uri="{FF2B5EF4-FFF2-40B4-BE49-F238E27FC236}">
                <a16:creationId xmlns:a16="http://schemas.microsoft.com/office/drawing/2014/main" id="{638BB4B2-3AB5-4D2F-ADE6-C3B6AAF7F14D}"/>
              </a:ext>
            </a:extLst>
          </p:cNvPr>
          <p:cNvPicPr>
            <a:picLocks noChangeAspect="1"/>
          </p:cNvPicPr>
          <p:nvPr/>
        </p:nvPicPr>
        <p:blipFill>
          <a:blip r:embed="rId8"/>
          <a:stretch>
            <a:fillRect/>
          </a:stretch>
        </p:blipFill>
        <p:spPr>
          <a:xfrm>
            <a:off x="2612571" y="2363305"/>
            <a:ext cx="6729065" cy="4432983"/>
          </a:xfrm>
          <a:prstGeom prst="rect">
            <a:avLst/>
          </a:prstGeom>
        </p:spPr>
      </p:pic>
      <p:cxnSp>
        <p:nvCxnSpPr>
          <p:cNvPr id="33" name="Straight Arrow Connector 32">
            <a:extLst>
              <a:ext uri="{FF2B5EF4-FFF2-40B4-BE49-F238E27FC236}">
                <a16:creationId xmlns:a16="http://schemas.microsoft.com/office/drawing/2014/main" id="{554B6AEC-F2D4-4A3A-8BBE-9FF088790EC6}"/>
              </a:ext>
            </a:extLst>
          </p:cNvPr>
          <p:cNvCxnSpPr>
            <a:cxnSpLocks/>
          </p:cNvCxnSpPr>
          <p:nvPr/>
        </p:nvCxnSpPr>
        <p:spPr>
          <a:xfrm>
            <a:off x="1938338" y="3733800"/>
            <a:ext cx="912026" cy="381000"/>
          </a:xfrm>
          <a:prstGeom prst="straightConnector1">
            <a:avLst/>
          </a:prstGeom>
          <a:ln w="19050">
            <a:headEnd type="none"/>
            <a:tailEnd type="triangl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753921672"/>
      </p:ext>
    </p:extLst>
  </p:cSld>
  <p:clrMapOvr>
    <a:masterClrMapping/>
  </p:clrMapOvr>
  <p:transition>
    <p:fade/>
  </p:transition>
</p:sld>
</file>

<file path=ppt/slides/slide21.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871218962"/>
              </p:ext>
            </p:extLst>
          </p:nvPr>
        </p:nvGraphicFramePr>
        <p:xfrm>
          <a:off x="655637" y="1109245"/>
          <a:ext cx="10880725" cy="5428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655638" y="320040"/>
            <a:ext cx="10880725" cy="461665"/>
          </a:xfrm>
        </p:spPr>
        <p:txBody>
          <a:bodyPr/>
          <a:lstStyle/>
          <a:p>
            <a:r>
              <a:rPr lang="nb-NO" dirty="0"/>
              <a:t>Knowledge Check</a:t>
            </a:r>
          </a:p>
        </p:txBody>
      </p:sp>
    </p:spTree>
    <p:extLst>
      <p:ext uri="{BB962C8B-B14F-4D97-AF65-F5344CB8AC3E}">
        <p14:creationId xmlns:p14="http://schemas.microsoft.com/office/powerpoint/2010/main" val="29425117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D41BB360-384E-4B4B-B035-8290D1F7BDF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BD5B78BD-7178-4941-9868-2406CE39C04D}"/>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07F2746E-345B-42A5-9AB5-2847F5E49FC1}"/>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3EC07AA1-1292-4840-9D59-7BFF6AAECBA4}"/>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dgm id="{654648DE-9039-4609-8ED0-FC7DF465E506}"/>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CFAF0CE1-FD79-4DFE-A162-C709A99B5D8B}"/>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graphicEl>
                                              <a:dgm id="{D2B7E05A-3A2D-48EE-B039-77FC73A9D63A}"/>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graphicEl>
                                              <a:dgm id="{1865A3C6-E6EF-4645-B08B-DC02A9999E2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320" y="630936"/>
            <a:ext cx="3114650" cy="5596826"/>
          </a:xfrm>
        </p:spPr>
        <p:txBody>
          <a:bodyPr wrap="square" anchor="ctr">
            <a:normAutofit/>
          </a:bodyPr>
          <a:lstStyle/>
          <a:p>
            <a:r>
              <a:rPr lang="en-US" dirty="0"/>
              <a:t>Summary</a:t>
            </a:r>
          </a:p>
        </p:txBody>
      </p:sp>
      <p:sp>
        <p:nvSpPr>
          <p:cNvPr id="4" name="Content Placeholder 3">
            <a:extLst>
              <a:ext uri="{FF2B5EF4-FFF2-40B4-BE49-F238E27FC236}">
                <a16:creationId xmlns:a16="http://schemas.microsoft.com/office/drawing/2014/main" id="{314820BE-CFC4-412F-B726-AE864CFDC95B}"/>
              </a:ext>
            </a:extLst>
          </p:cNvPr>
          <p:cNvSpPr>
            <a:spLocks noGrp="1"/>
          </p:cNvSpPr>
          <p:nvPr>
            <p:ph type="body" sz="quarter" idx="10"/>
          </p:nvPr>
        </p:nvSpPr>
        <p:spPr>
          <a:xfrm>
            <a:off x="5008563" y="630238"/>
            <a:ext cx="6527800" cy="5597525"/>
          </a:xfrm>
        </p:spPr>
        <p:txBody>
          <a:bodyPr>
            <a:normAutofit/>
          </a:bodyPr>
          <a:lstStyle/>
          <a:p>
            <a:r>
              <a:rPr lang="en-US" dirty="0"/>
              <a:t>In this lesson, you learned about the services and benefits that are provided by Microsoft 365</a:t>
            </a:r>
            <a:endParaRPr lang="nb-NO" dirty="0"/>
          </a:p>
          <a:p>
            <a:endParaRPr lang="en-US" dirty="0"/>
          </a:p>
        </p:txBody>
      </p:sp>
    </p:spTree>
    <p:extLst>
      <p:ext uri="{BB962C8B-B14F-4D97-AF65-F5344CB8AC3E}">
        <p14:creationId xmlns:p14="http://schemas.microsoft.com/office/powerpoint/2010/main" val="3137381525"/>
      </p:ext>
    </p:extLst>
  </p:cSld>
  <p:clrMapOvr>
    <a:masterClrMapping/>
  </p:clrMapOvr>
  <p:transition>
    <p:fade/>
  </p:transition>
</p:sld>
</file>

<file path=ppt/slides/slide2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114775"/>
      </p:ext>
    </p:extLst>
  </p:cSld>
  <p:clrMapOvr>
    <a:masterClrMapping/>
  </p:clrMapOvr>
</p:sld>
</file>

<file path=ppt/slides/slide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tudents: How to View This Presentation</a:t>
            </a:r>
          </a:p>
        </p:txBody>
      </p:sp>
      <p:sp>
        <p:nvSpPr>
          <p:cNvPr id="9" name="Content Placeholder 8"/>
          <p:cNvSpPr>
            <a:spLocks noGrp="1"/>
          </p:cNvSpPr>
          <p:nvPr>
            <p:ph sz="quarter" idx="13"/>
          </p:nvPr>
        </p:nvSpPr>
        <p:spPr/>
        <p:txBody>
          <a:bodyPr/>
          <a:lstStyle/>
          <a:p>
            <a:pPr lvl="0"/>
            <a:r>
              <a:rPr lang="en-US" dirty="0"/>
              <a:t>To switch to </a:t>
            </a:r>
            <a:r>
              <a:rPr lang="en-US" b="1" dirty="0"/>
              <a:t>Notes Page </a:t>
            </a:r>
            <a:r>
              <a:rPr lang="en-US" dirty="0"/>
              <a:t>view:</a:t>
            </a:r>
          </a:p>
          <a:p>
            <a:pPr lvl="1"/>
            <a:r>
              <a:rPr lang="en-US" dirty="0"/>
              <a:t>On the ribbon, click the </a:t>
            </a:r>
            <a:r>
              <a:rPr lang="en-US" b="1" dirty="0"/>
              <a:t>View</a:t>
            </a:r>
            <a:r>
              <a:rPr lang="en-US" dirty="0"/>
              <a:t> tab, and then click </a:t>
            </a:r>
            <a:r>
              <a:rPr lang="en-US" b="1" dirty="0"/>
              <a:t>Notes Page</a:t>
            </a:r>
          </a:p>
          <a:p>
            <a:pPr lvl="0"/>
            <a:r>
              <a:rPr lang="en-US" dirty="0"/>
              <a:t>To navigate through notes, use the Page Up and Page Down keys</a:t>
            </a:r>
          </a:p>
          <a:p>
            <a:pPr lvl="1"/>
            <a:r>
              <a:rPr lang="en-US" dirty="0"/>
              <a:t>Zoom in or zoom out, if required</a:t>
            </a:r>
          </a:p>
          <a:p>
            <a:pPr lvl="0"/>
            <a:r>
              <a:rPr lang="en-US" dirty="0"/>
              <a:t>In the </a:t>
            </a:r>
            <a:r>
              <a:rPr lang="en-US" b="1" dirty="0"/>
              <a:t>Notes Page </a:t>
            </a:r>
            <a:r>
              <a:rPr lang="en-US" dirty="0"/>
              <a:t>view, you can:</a:t>
            </a:r>
          </a:p>
          <a:p>
            <a:pPr lvl="1"/>
            <a:r>
              <a:rPr lang="en-US" dirty="0"/>
              <a:t>Read any supporting text</a:t>
            </a:r>
          </a:p>
          <a:p>
            <a:pPr lvl="2"/>
            <a:r>
              <a:rPr lang="en-US" dirty="0"/>
              <a:t>A list of terms used in this course is provided in the Notes section</a:t>
            </a:r>
          </a:p>
          <a:p>
            <a:pPr lvl="1"/>
            <a:r>
              <a:rPr lang="en-US" dirty="0"/>
              <a:t>Add notes to your copy of the presentation, if required</a:t>
            </a:r>
          </a:p>
          <a:p>
            <a:pPr lvl="0"/>
            <a:r>
              <a:rPr lang="en-US" dirty="0"/>
              <a:t>Take the presentation files home with you</a:t>
            </a:r>
          </a:p>
          <a:p>
            <a:endParaRPr lang="en-US" dirty="0"/>
          </a:p>
        </p:txBody>
      </p:sp>
    </p:spTree>
    <p:extLst>
      <p:ext uri="{BB962C8B-B14F-4D97-AF65-F5344CB8AC3E}">
        <p14:creationId xmlns:p14="http://schemas.microsoft.com/office/powerpoint/2010/main" val="2612122493"/>
      </p:ext>
    </p:extLst>
  </p:cSld>
  <p:clrMapOvr>
    <a:masterClrMapping/>
  </p:clrMapOvr>
</p:sld>
</file>

<file path=ppt/slides/slide4.xml><?xml version="1.0" encoding="utf-8"?>
<p:sld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wrap="square" anchor="t">
            <a:normAutofit/>
          </a:bodyPr>
          <a:lstStyle/>
          <a:p>
            <a:r>
              <a:rPr lang="en-US" dirty="0"/>
              <a:t>Introduction and Logistics</a:t>
            </a:r>
          </a:p>
        </p:txBody>
      </p:sp>
      <p:graphicFrame>
        <p:nvGraphicFramePr>
          <p:cNvPr id="2" name="Diagram 1"/>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9250948"/>
      </p:ext>
    </p:extLst>
  </p:cSld>
  <p:clrMapOvr>
    <a:masterClrMapping/>
  </p:clrMapOvr>
  <p:transition>
    <p:fade/>
  </p:transition>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wrap="square" anchor="b">
            <a:normAutofit/>
          </a:bodyPr>
          <a:lstStyle/>
          <a:p>
            <a:r>
              <a:rPr lang="en-US" dirty="0"/>
              <a:t>Overview of Microsoft 365</a:t>
            </a:r>
            <a:endParaRPr lang="nb-NO" dirty="0"/>
          </a:p>
        </p:txBody>
      </p:sp>
    </p:spTree>
    <p:extLst>
      <p:ext uri="{BB962C8B-B14F-4D97-AF65-F5344CB8AC3E}">
        <p14:creationId xmlns:p14="http://schemas.microsoft.com/office/powerpoint/2010/main" val="487109994"/>
      </p:ext>
    </p:extLst>
  </p:cSld>
  <p:clrMapOvr>
    <a:masterClrMapping/>
  </p:clrMapOvr>
  <p:transition>
    <p:fade/>
  </p:transition>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4889976-6518-4FE0-9B18-7B00389867B4}"/>
              </a:ext>
            </a:extLst>
          </p:cNvPr>
          <p:cNvSpPr>
            <a:spLocks noGrp="1"/>
          </p:cNvSpPr>
          <p:nvPr>
            <p:ph type="body" sz="quarter" idx="11"/>
          </p:nvPr>
        </p:nvSpPr>
        <p:spPr>
          <a:xfrm>
            <a:off x="5008563" y="630238"/>
            <a:ext cx="6527800" cy="5597524"/>
          </a:xfrm>
        </p:spPr>
        <p:txBody>
          <a:bodyPr anchor="ctr">
            <a:normAutofit/>
          </a:bodyPr>
          <a:lstStyle/>
          <a:p>
            <a:pPr lvl="0"/>
            <a:r>
              <a:rPr lang="en-US" dirty="0"/>
              <a:t>This lesson provides a high-level overview of Microsoft 365. After completing this lesson, you will be able to:</a:t>
            </a:r>
            <a:endParaRPr lang="nb-NO" dirty="0"/>
          </a:p>
          <a:p>
            <a:pPr lvl="1"/>
            <a:r>
              <a:rPr lang="en-US" dirty="0"/>
              <a:t>Understand the services offered by Microsoft 365</a:t>
            </a:r>
            <a:endParaRPr lang="nb-NO" dirty="0"/>
          </a:p>
          <a:p>
            <a:pPr lvl="1"/>
            <a:r>
              <a:rPr lang="en-US" dirty="0"/>
              <a:t>Describe the various Microsoft 365 suites and licensing options </a:t>
            </a:r>
            <a:endParaRPr lang="nb-NO" dirty="0"/>
          </a:p>
          <a:p>
            <a:pPr lvl="1"/>
            <a:r>
              <a:rPr lang="en-US" dirty="0"/>
              <a:t>Identify the Microsoft 365 datacenter locations</a:t>
            </a:r>
            <a:endParaRPr lang="nb-NO" dirty="0"/>
          </a:p>
          <a:p>
            <a:pPr lvl="1"/>
            <a:r>
              <a:rPr lang="nb-NO" dirty="0"/>
              <a:t>Use Service Health Dashboard and Microsoft 365 Message Center</a:t>
            </a:r>
          </a:p>
        </p:txBody>
      </p:sp>
      <p:sp>
        <p:nvSpPr>
          <p:cNvPr id="2" name="Title 1"/>
          <p:cNvSpPr>
            <a:spLocks noGrp="1"/>
          </p:cNvSpPr>
          <p:nvPr>
            <p:ph type="title"/>
          </p:nvPr>
        </p:nvSpPr>
        <p:spPr>
          <a:xfrm>
            <a:off x="655639" y="630238"/>
            <a:ext cx="3152330" cy="5597524"/>
          </a:xfrm>
        </p:spPr>
        <p:txBody>
          <a:bodyPr wrap="square" anchor="ctr">
            <a:normAutofit/>
          </a:bodyPr>
          <a:lstStyle/>
          <a:p>
            <a:r>
              <a:rPr lang="en-US" dirty="0"/>
              <a:t>Objectives</a:t>
            </a:r>
          </a:p>
        </p:txBody>
      </p:sp>
    </p:spTree>
    <p:extLst>
      <p:ext uri="{BB962C8B-B14F-4D97-AF65-F5344CB8AC3E}">
        <p14:creationId xmlns:p14="http://schemas.microsoft.com/office/powerpoint/2010/main" val="3929112840"/>
      </p:ext>
    </p:extLst>
  </p:cSld>
  <p:clrMapOvr>
    <a:masterClrMapping/>
  </p:clrMapOvr>
  <p:transition>
    <p:fade/>
  </p:transition>
</p:sld>
</file>

<file path=ppt/slides/slide7.xml><?xml version="1.0" encoding="utf-8"?>
<p:sld xmlns:a14="http://schemas.microsoft.com/office/drawing/2010/main"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6066796" y="1919377"/>
            <a:ext cx="5026761" cy="31666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What Is Microsoft 365?</a:t>
            </a:r>
          </a:p>
        </p:txBody>
      </p:sp>
      <p:sp>
        <p:nvSpPr>
          <p:cNvPr id="4" name="Content Placeholder 3"/>
          <p:cNvSpPr>
            <a:spLocks noGrp="1"/>
          </p:cNvSpPr>
          <p:nvPr>
            <p:ph type="subTitle" idx="1"/>
          </p:nvPr>
        </p:nvSpPr>
        <p:spPr/>
        <p:txBody>
          <a:bodyPr/>
          <a:lstStyle/>
          <a:p>
            <a:r>
              <a:rPr lang="en-US" dirty="0"/>
              <a:t>Latest productivity services running in Microsoft cloud, including</a:t>
            </a:r>
          </a:p>
        </p:txBody>
      </p:sp>
      <p:sp>
        <p:nvSpPr>
          <p:cNvPr id="6" name="Rectangle 5"/>
          <p:cNvSpPr>
            <a:spLocks noChangeAspect="1"/>
          </p:cNvSpPr>
          <p:nvPr/>
        </p:nvSpPr>
        <p:spPr bwMode="auto">
          <a:xfrm>
            <a:off x="990600" y="1917595"/>
            <a:ext cx="1511405" cy="15114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xchange Online</a:t>
            </a:r>
          </a:p>
        </p:txBody>
      </p:sp>
      <p:sp>
        <p:nvSpPr>
          <p:cNvPr id="7" name="Rectangle 6"/>
          <p:cNvSpPr>
            <a:spLocks noChangeAspect="1"/>
          </p:cNvSpPr>
          <p:nvPr/>
        </p:nvSpPr>
        <p:spPr bwMode="auto">
          <a:xfrm>
            <a:off x="2629676" y="1917595"/>
            <a:ext cx="1511405" cy="15114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SharePoint Online</a:t>
            </a:r>
          </a:p>
        </p:txBody>
      </p:sp>
      <p:sp>
        <p:nvSpPr>
          <p:cNvPr id="8" name="Rectangle 7"/>
          <p:cNvSpPr>
            <a:spLocks noChangeAspect="1"/>
          </p:cNvSpPr>
          <p:nvPr/>
        </p:nvSpPr>
        <p:spPr bwMode="auto">
          <a:xfrm>
            <a:off x="4290655" y="1919377"/>
            <a:ext cx="1511405" cy="15114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Microsoft Teams</a:t>
            </a:r>
          </a:p>
        </p:txBody>
      </p:sp>
      <p:sp>
        <p:nvSpPr>
          <p:cNvPr id="9" name="Rectangle 8"/>
          <p:cNvSpPr>
            <a:spLocks noChangeAspect="1"/>
          </p:cNvSpPr>
          <p:nvPr/>
        </p:nvSpPr>
        <p:spPr bwMode="auto">
          <a:xfrm>
            <a:off x="990600" y="3574602"/>
            <a:ext cx="1511405" cy="15114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Microsoft 365 Apps</a:t>
            </a:r>
          </a:p>
        </p:txBody>
      </p:sp>
      <p:sp>
        <p:nvSpPr>
          <p:cNvPr id="10" name="Rectangle 9"/>
          <p:cNvSpPr>
            <a:spLocks noChangeAspect="1"/>
          </p:cNvSpPr>
          <p:nvPr/>
        </p:nvSpPr>
        <p:spPr bwMode="auto">
          <a:xfrm>
            <a:off x="2607710" y="3574601"/>
            <a:ext cx="1511405" cy="15114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Yammer</a:t>
            </a:r>
          </a:p>
        </p:txBody>
      </p:sp>
      <p:sp>
        <p:nvSpPr>
          <p:cNvPr id="11" name="Rectangle 10"/>
          <p:cNvSpPr>
            <a:spLocks noChangeAspect="1"/>
          </p:cNvSpPr>
          <p:nvPr/>
        </p:nvSpPr>
        <p:spPr bwMode="auto">
          <a:xfrm>
            <a:off x="4285462" y="3574600"/>
            <a:ext cx="1511405" cy="15114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Power Platform</a:t>
            </a:r>
          </a:p>
        </p:txBody>
      </p:sp>
      <p:pic>
        <p:nvPicPr>
          <p:cNvPr id="20" name="Picture 2" descr="C:\Users\chrisw\Desktop\Cloud Services 3.png"/>
          <p:cNvPicPr>
            <a:picLocks noChangeAspect="1" noChangeArrowheads="1"/>
          </p:cNvPicPr>
          <p:nvPr/>
        </p:nvPicPr>
        <p:blipFill rotWithShape="1">
          <a:blip r:embed="rId3">
            <a:biLevel thresh="25000"/>
            <a:extLst>
              <a:ext uri="{28A0092B-C50C-407E-A947-70E740481C1C}">
                <a14:useLocalDpi xmlns:a14="http://schemas.microsoft.com/office/drawing/2010/main" val="0"/>
              </a:ext>
            </a:extLst>
          </a:blip>
          <a:srcRect/>
          <a:stretch/>
        </p:blipFill>
        <p:spPr bwMode="black">
          <a:xfrm>
            <a:off x="6044829" y="2389716"/>
            <a:ext cx="5048727" cy="267715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 name="Picture 4" descr="Graphical user interface&#10;&#10;Description automatically generated">
            <a:extLst>
              <a:ext uri="{FF2B5EF4-FFF2-40B4-BE49-F238E27FC236}">
                <a16:creationId xmlns:a16="http://schemas.microsoft.com/office/drawing/2014/main" id="{8D5C6D6F-5E79-A8A3-537C-0DF118CB5EF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1323" y="1982256"/>
            <a:ext cx="3005923" cy="1104794"/>
          </a:xfrm>
          <a:prstGeom prst="rect">
            <a:avLst/>
          </a:prstGeom>
        </p:spPr>
      </p:pic>
      <p:pic>
        <p:nvPicPr>
          <p:cNvPr id="26" name="Picture 25" descr="Calendar&#10;&#10;Description automatically generated">
            <a:extLst>
              <a:ext uri="{FF2B5EF4-FFF2-40B4-BE49-F238E27FC236}">
                <a16:creationId xmlns:a16="http://schemas.microsoft.com/office/drawing/2014/main" id="{0A5287AD-EB7F-7D59-2F4F-45C7858EF7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97521" y="3077017"/>
            <a:ext cx="3618002" cy="2035126"/>
          </a:xfrm>
          <a:prstGeom prst="rect">
            <a:avLst/>
          </a:prstGeom>
        </p:spPr>
      </p:pic>
    </p:spTree>
    <p:extLst>
      <p:ext uri="{BB962C8B-B14F-4D97-AF65-F5344CB8AC3E}">
        <p14:creationId xmlns:p14="http://schemas.microsoft.com/office/powerpoint/2010/main" val="2640063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8.xml><?xml version="1.0" encoding="utf-8"?>
<p:sld xmlns:a14="http://schemas.microsoft.com/office/drawing/2010/main"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365: Benefits</a:t>
            </a:r>
          </a:p>
        </p:txBody>
      </p:sp>
      <p:sp>
        <p:nvSpPr>
          <p:cNvPr id="264" name="Rectangle 263"/>
          <p:cNvSpPr/>
          <p:nvPr/>
        </p:nvSpPr>
        <p:spPr bwMode="auto">
          <a:xfrm>
            <a:off x="1955928" y="1359946"/>
            <a:ext cx="2586171" cy="25139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952" fontAlgn="base">
              <a:spcBef>
                <a:spcPct val="0"/>
              </a:spcBef>
              <a:spcAft>
                <a:spcPct val="0"/>
              </a:spcAft>
            </a:pPr>
            <a:endParaRPr lang="en-US" dirty="0">
              <a:solidFill>
                <a:schemeClr val="bg1"/>
              </a:solidFill>
            </a:endParaRPr>
          </a:p>
        </p:txBody>
      </p:sp>
      <p:sp>
        <p:nvSpPr>
          <p:cNvPr id="265" name="Rectangle 264"/>
          <p:cNvSpPr/>
          <p:nvPr/>
        </p:nvSpPr>
        <p:spPr>
          <a:xfrm>
            <a:off x="1983227" y="3144580"/>
            <a:ext cx="2596672" cy="523220"/>
          </a:xfrm>
          <a:prstGeom prst="rect">
            <a:avLst/>
          </a:prstGeom>
        </p:spPr>
        <p:txBody>
          <a:bodyPr wrap="square">
            <a:spAutoFit/>
          </a:bodyPr>
          <a:lstStyle/>
          <a:p>
            <a:pPr algn="ctr" defTabSz="913952" fontAlgn="base">
              <a:spcBef>
                <a:spcPct val="0"/>
              </a:spcBef>
              <a:spcAft>
                <a:spcPct val="0"/>
              </a:spcAft>
            </a:pPr>
            <a:r>
              <a:rPr lang="en-US" sz="1400" dirty="0">
                <a:solidFill>
                  <a:schemeClr val="bg1"/>
                </a:solidFill>
              </a:rPr>
              <a:t>Familiar and full </a:t>
            </a:r>
          </a:p>
          <a:p>
            <a:pPr algn="ctr" defTabSz="913952" fontAlgn="base">
              <a:spcBef>
                <a:spcPct val="0"/>
              </a:spcBef>
              <a:spcAft>
                <a:spcPct val="0"/>
              </a:spcAft>
            </a:pPr>
            <a:r>
              <a:rPr lang="en-US" sz="1400" dirty="0">
                <a:solidFill>
                  <a:schemeClr val="bg1"/>
                </a:solidFill>
              </a:rPr>
              <a:t>Microsoft 365 Applications</a:t>
            </a:r>
          </a:p>
        </p:txBody>
      </p:sp>
      <p:sp>
        <p:nvSpPr>
          <p:cNvPr id="266" name="Freeform 5"/>
          <p:cNvSpPr>
            <a:spLocks noEditPoints="1"/>
          </p:cNvSpPr>
          <p:nvPr/>
        </p:nvSpPr>
        <p:spPr bwMode="auto">
          <a:xfrm>
            <a:off x="2701314" y="1756229"/>
            <a:ext cx="1124671" cy="1061651"/>
          </a:xfrm>
          <a:custGeom>
            <a:avLst/>
            <a:gdLst>
              <a:gd name="T0" fmla="*/ 12 w 142"/>
              <a:gd name="T1" fmla="*/ 103 h 137"/>
              <a:gd name="T2" fmla="*/ 130 w 142"/>
              <a:gd name="T3" fmla="*/ 103 h 137"/>
              <a:gd name="T4" fmla="*/ 130 w 142"/>
              <a:gd name="T5" fmla="*/ 12 h 137"/>
              <a:gd name="T6" fmla="*/ 12 w 142"/>
              <a:gd name="T7" fmla="*/ 12 h 137"/>
              <a:gd name="T8" fmla="*/ 12 w 142"/>
              <a:gd name="T9" fmla="*/ 103 h 137"/>
              <a:gd name="T10" fmla="*/ 0 w 142"/>
              <a:gd name="T11" fmla="*/ 107 h 137"/>
              <a:gd name="T12" fmla="*/ 0 w 142"/>
              <a:gd name="T13" fmla="*/ 8 h 137"/>
              <a:gd name="T14" fmla="*/ 8 w 142"/>
              <a:gd name="T15" fmla="*/ 0 h 137"/>
              <a:gd name="T16" fmla="*/ 134 w 142"/>
              <a:gd name="T17" fmla="*/ 0 h 137"/>
              <a:gd name="T18" fmla="*/ 142 w 142"/>
              <a:gd name="T19" fmla="*/ 8 h 137"/>
              <a:gd name="T20" fmla="*/ 142 w 142"/>
              <a:gd name="T21" fmla="*/ 107 h 137"/>
              <a:gd name="T22" fmla="*/ 134 w 142"/>
              <a:gd name="T23" fmla="*/ 115 h 137"/>
              <a:gd name="T24" fmla="*/ 86 w 142"/>
              <a:gd name="T25" fmla="*/ 115 h 137"/>
              <a:gd name="T26" fmla="*/ 86 w 142"/>
              <a:gd name="T27" fmla="*/ 128 h 137"/>
              <a:gd name="T28" fmla="*/ 120 w 142"/>
              <a:gd name="T29" fmla="*/ 137 h 137"/>
              <a:gd name="T30" fmla="*/ 23 w 142"/>
              <a:gd name="T31" fmla="*/ 137 h 137"/>
              <a:gd name="T32" fmla="*/ 57 w 142"/>
              <a:gd name="T33" fmla="*/ 128 h 137"/>
              <a:gd name="T34" fmla="*/ 57 w 142"/>
              <a:gd name="T35" fmla="*/ 115 h 137"/>
              <a:gd name="T36" fmla="*/ 8 w 142"/>
              <a:gd name="T37" fmla="*/ 115 h 137"/>
              <a:gd name="T38" fmla="*/ 0 w 142"/>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37">
                <a:moveTo>
                  <a:pt x="12" y="103"/>
                </a:moveTo>
                <a:cubicBezTo>
                  <a:pt x="130" y="103"/>
                  <a:pt x="130" y="103"/>
                  <a:pt x="130" y="103"/>
                </a:cubicBezTo>
                <a:cubicBezTo>
                  <a:pt x="130" y="12"/>
                  <a:pt x="130" y="12"/>
                  <a:pt x="130" y="12"/>
                </a:cubicBezTo>
                <a:cubicBezTo>
                  <a:pt x="12" y="12"/>
                  <a:pt x="12" y="12"/>
                  <a:pt x="12" y="12"/>
                </a:cubicBezTo>
                <a:lnTo>
                  <a:pt x="12" y="103"/>
                </a:lnTo>
                <a:close/>
                <a:moveTo>
                  <a:pt x="0" y="107"/>
                </a:moveTo>
                <a:cubicBezTo>
                  <a:pt x="0" y="8"/>
                  <a:pt x="0" y="8"/>
                  <a:pt x="0" y="8"/>
                </a:cubicBezTo>
                <a:cubicBezTo>
                  <a:pt x="0" y="4"/>
                  <a:pt x="4" y="0"/>
                  <a:pt x="8" y="0"/>
                </a:cubicBezTo>
                <a:cubicBezTo>
                  <a:pt x="134" y="0"/>
                  <a:pt x="134" y="0"/>
                  <a:pt x="134" y="0"/>
                </a:cubicBezTo>
                <a:cubicBezTo>
                  <a:pt x="139" y="0"/>
                  <a:pt x="142" y="4"/>
                  <a:pt x="142" y="8"/>
                </a:cubicBezTo>
                <a:cubicBezTo>
                  <a:pt x="142" y="107"/>
                  <a:pt x="142" y="107"/>
                  <a:pt x="142" y="107"/>
                </a:cubicBezTo>
                <a:cubicBezTo>
                  <a:pt x="142" y="112"/>
                  <a:pt x="139" y="115"/>
                  <a:pt x="134" y="115"/>
                </a:cubicBezTo>
                <a:cubicBezTo>
                  <a:pt x="86" y="115"/>
                  <a:pt x="86" y="115"/>
                  <a:pt x="86" y="115"/>
                </a:cubicBezTo>
                <a:cubicBezTo>
                  <a:pt x="86" y="128"/>
                  <a:pt x="86" y="128"/>
                  <a:pt x="86" y="128"/>
                </a:cubicBezTo>
                <a:cubicBezTo>
                  <a:pt x="106" y="129"/>
                  <a:pt x="120" y="133"/>
                  <a:pt x="120" y="137"/>
                </a:cubicBezTo>
                <a:cubicBezTo>
                  <a:pt x="23" y="137"/>
                  <a:pt x="23" y="137"/>
                  <a:pt x="23" y="137"/>
                </a:cubicBezTo>
                <a:cubicBezTo>
                  <a:pt x="23" y="133"/>
                  <a:pt x="37" y="129"/>
                  <a:pt x="57" y="128"/>
                </a:cubicBezTo>
                <a:cubicBezTo>
                  <a:pt x="57" y="115"/>
                  <a:pt x="57" y="115"/>
                  <a:pt x="57" y="115"/>
                </a:cubicBezTo>
                <a:cubicBezTo>
                  <a:pt x="8" y="115"/>
                  <a:pt x="8" y="115"/>
                  <a:pt x="8" y="115"/>
                </a:cubicBezTo>
                <a:cubicBezTo>
                  <a:pt x="4" y="115"/>
                  <a:pt x="0" y="112"/>
                  <a:pt x="0"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15" tIns="45609" rIns="91215" bIns="45609" numCol="1" anchor="t" anchorCtr="0" compatLnSpc="1">
            <a:prstTxWarp prst="textNoShape">
              <a:avLst/>
            </a:prstTxWarp>
          </a:bodyPr>
          <a:lstStyle/>
          <a:p>
            <a:pPr algn="ctr" defTabSz="912023"/>
            <a:endParaRPr lang="en-US" dirty="0">
              <a:solidFill>
                <a:schemeClr val="bg1"/>
              </a:solidFill>
            </a:endParaRPr>
          </a:p>
        </p:txBody>
      </p:sp>
      <p:sp>
        <p:nvSpPr>
          <p:cNvPr id="269" name="Rectangle 268"/>
          <p:cNvSpPr/>
          <p:nvPr/>
        </p:nvSpPr>
        <p:spPr bwMode="auto">
          <a:xfrm>
            <a:off x="1973352" y="4039782"/>
            <a:ext cx="2584033" cy="2513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952" fontAlgn="base">
              <a:spcBef>
                <a:spcPct val="0"/>
              </a:spcBef>
              <a:spcAft>
                <a:spcPct val="0"/>
              </a:spcAft>
            </a:pPr>
            <a:endParaRPr lang="en-US" dirty="0">
              <a:solidFill>
                <a:schemeClr val="bg1"/>
              </a:solidFill>
            </a:endParaRPr>
          </a:p>
        </p:txBody>
      </p:sp>
      <p:sp>
        <p:nvSpPr>
          <p:cNvPr id="270" name="Rectangle 269"/>
          <p:cNvSpPr/>
          <p:nvPr/>
        </p:nvSpPr>
        <p:spPr>
          <a:xfrm>
            <a:off x="2187288" y="5785417"/>
            <a:ext cx="2044727" cy="523220"/>
          </a:xfrm>
          <a:prstGeom prst="rect">
            <a:avLst/>
          </a:prstGeom>
          <a:noFill/>
        </p:spPr>
        <p:txBody>
          <a:bodyPr wrap="none">
            <a:spAutoFit/>
          </a:bodyPr>
          <a:lstStyle/>
          <a:p>
            <a:pPr algn="ctr" defTabSz="913952" fontAlgn="base">
              <a:spcBef>
                <a:spcPct val="0"/>
              </a:spcBef>
              <a:spcAft>
                <a:spcPct val="0"/>
              </a:spcAft>
            </a:pPr>
            <a:r>
              <a:rPr lang="en-US" sz="1400" dirty="0">
                <a:solidFill>
                  <a:schemeClr val="bg1"/>
                </a:solidFill>
              </a:rPr>
              <a:t>Reliable services run at </a:t>
            </a:r>
          </a:p>
          <a:p>
            <a:pPr algn="ctr" defTabSz="913952" fontAlgn="base">
              <a:spcBef>
                <a:spcPct val="0"/>
              </a:spcBef>
              <a:spcAft>
                <a:spcPct val="0"/>
              </a:spcAft>
            </a:pPr>
            <a:r>
              <a:rPr lang="en-US" sz="1400" dirty="0">
                <a:solidFill>
                  <a:schemeClr val="bg1"/>
                </a:solidFill>
              </a:rPr>
              <a:t>scale with a 99.9% SLA</a:t>
            </a:r>
          </a:p>
        </p:txBody>
      </p:sp>
      <p:grpSp>
        <p:nvGrpSpPr>
          <p:cNvPr id="271" name="Group 270"/>
          <p:cNvGrpSpPr/>
          <p:nvPr/>
        </p:nvGrpSpPr>
        <p:grpSpPr bwMode="black">
          <a:xfrm>
            <a:off x="2480640" y="4198584"/>
            <a:ext cx="1413711" cy="1340013"/>
            <a:chOff x="2462213" y="1598613"/>
            <a:chExt cx="4222750" cy="3667125"/>
          </a:xfrm>
          <a:solidFill>
            <a:schemeClr val="bg1"/>
          </a:solidFill>
        </p:grpSpPr>
        <p:sp>
          <p:nvSpPr>
            <p:cNvPr id="273"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74"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75"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76"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77"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78"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79"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0"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1"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2"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3"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4"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5"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6"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7"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8"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89"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90"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91"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92"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93"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94"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95"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96"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sp>
          <p:nvSpPr>
            <p:cNvPr id="297"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ctr" defTabSz="913952"/>
              <a:endParaRPr lang="en-US" sz="1100" dirty="0">
                <a:solidFill>
                  <a:schemeClr val="bg1"/>
                </a:solidFill>
              </a:endParaRPr>
            </a:p>
          </p:txBody>
        </p:sp>
      </p:grpSp>
      <p:pic>
        <p:nvPicPr>
          <p:cNvPr id="272" name="Picture 5" descr="\\MAGNUM\Projects\Microsoft\Cloud Power FY12\Design\ICONS_PNG\Layer-79.png"/>
          <p:cNvPicPr>
            <a:picLocks noChangeAspect="1" noChangeArrowheads="1"/>
          </p:cNvPicPr>
          <p:nvPr/>
        </p:nvPicPr>
        <p:blipFill>
          <a:blip r:embed="rId3" cstate="print">
            <a:lum bright="100000"/>
          </a:blip>
          <a:srcRect/>
          <a:stretch>
            <a:fillRect/>
          </a:stretch>
        </p:blipFill>
        <p:spPr bwMode="auto">
          <a:xfrm>
            <a:off x="2901942" y="4569262"/>
            <a:ext cx="523807" cy="529045"/>
          </a:xfrm>
          <a:prstGeom prst="rect">
            <a:avLst/>
          </a:prstGeom>
          <a:solidFill>
            <a:schemeClr val="accent2"/>
          </a:solidFill>
        </p:spPr>
      </p:pic>
      <p:grpSp>
        <p:nvGrpSpPr>
          <p:cNvPr id="298" name="Group 297"/>
          <p:cNvGrpSpPr/>
          <p:nvPr/>
        </p:nvGrpSpPr>
        <p:grpSpPr>
          <a:xfrm>
            <a:off x="7672497" y="4039255"/>
            <a:ext cx="2614504" cy="2513946"/>
            <a:chOff x="9031326" y="3817154"/>
            <a:chExt cx="2376821" cy="2285405"/>
          </a:xfrm>
        </p:grpSpPr>
        <p:sp>
          <p:nvSpPr>
            <p:cNvPr id="299" name="Rectangle 298"/>
            <p:cNvSpPr/>
            <p:nvPr/>
          </p:nvSpPr>
          <p:spPr bwMode="auto">
            <a:xfrm>
              <a:off x="9031326" y="3817154"/>
              <a:ext cx="2376821" cy="22854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952" fontAlgn="base">
                <a:spcBef>
                  <a:spcPct val="0"/>
                </a:spcBef>
                <a:spcAft>
                  <a:spcPct val="0"/>
                </a:spcAft>
              </a:pPr>
              <a:endParaRPr lang="en-US" dirty="0">
                <a:solidFill>
                  <a:schemeClr val="bg1"/>
                </a:solidFill>
              </a:endParaRPr>
            </a:p>
          </p:txBody>
        </p:sp>
        <p:sp>
          <p:nvSpPr>
            <p:cNvPr id="300" name="Rectangle 299"/>
            <p:cNvSpPr/>
            <p:nvPr/>
          </p:nvSpPr>
          <p:spPr>
            <a:xfrm>
              <a:off x="9053223" y="5632235"/>
              <a:ext cx="2344053" cy="279797"/>
            </a:xfrm>
            <a:prstGeom prst="rect">
              <a:avLst/>
            </a:prstGeom>
          </p:spPr>
          <p:txBody>
            <a:bodyPr wrap="square">
              <a:spAutoFit/>
            </a:bodyPr>
            <a:lstStyle/>
            <a:p>
              <a:pPr algn="ctr" defTabSz="913952" fontAlgn="base">
                <a:spcBef>
                  <a:spcPct val="0"/>
                </a:spcBef>
                <a:spcAft>
                  <a:spcPct val="0"/>
                </a:spcAft>
              </a:pPr>
              <a:r>
                <a:rPr lang="en-US" sz="1400" dirty="0">
                  <a:solidFill>
                    <a:schemeClr val="bg1"/>
                  </a:solidFill>
                </a:rPr>
                <a:t>Trusted Service</a:t>
              </a:r>
            </a:p>
          </p:txBody>
        </p:sp>
        <p:pic>
          <p:nvPicPr>
            <p:cNvPr id="301" name="Picture 7" descr="\\MAGNUM\Projects\Microsoft\Cloud Power FY12\Design\ICONS_PNG\Secure.png"/>
            <p:cNvPicPr>
              <a:picLocks noChangeAspect="1" noChangeArrowheads="1"/>
            </p:cNvPicPr>
            <p:nvPr/>
          </p:nvPicPr>
          <p:blipFill>
            <a:blip r:embed="rId4" cstate="print">
              <a:lum bright="100000"/>
            </a:blip>
            <a:srcRect/>
            <a:stretch>
              <a:fillRect/>
            </a:stretch>
          </p:blipFill>
          <p:spPr bwMode="auto">
            <a:xfrm>
              <a:off x="9053145" y="3831412"/>
              <a:ext cx="1386199" cy="1386199"/>
            </a:xfrm>
            <a:prstGeom prst="rect">
              <a:avLst/>
            </a:prstGeom>
            <a:noFill/>
          </p:spPr>
        </p:pic>
        <p:pic>
          <p:nvPicPr>
            <p:cNvPr id="302" name="Picture 2" descr="\\MAGNUM\Projects\Microsoft\Cloud Power FY12\Design\ICONS_PNG\Secure_Elastic.png"/>
            <p:cNvPicPr>
              <a:picLocks noChangeAspect="1" noChangeArrowheads="1"/>
            </p:cNvPicPr>
            <p:nvPr/>
          </p:nvPicPr>
          <p:blipFill>
            <a:blip r:embed="rId5" cstate="print">
              <a:lum bright="100000"/>
            </a:blip>
            <a:srcRect/>
            <a:stretch>
              <a:fillRect/>
            </a:stretch>
          </p:blipFill>
          <p:spPr bwMode="auto">
            <a:xfrm>
              <a:off x="10114976" y="4336049"/>
              <a:ext cx="1081572" cy="1081572"/>
            </a:xfrm>
            <a:prstGeom prst="rect">
              <a:avLst/>
            </a:prstGeom>
            <a:noFill/>
          </p:spPr>
        </p:pic>
      </p:grpSp>
      <p:grpSp>
        <p:nvGrpSpPr>
          <p:cNvPr id="303" name="Group 302"/>
          <p:cNvGrpSpPr/>
          <p:nvPr/>
        </p:nvGrpSpPr>
        <p:grpSpPr>
          <a:xfrm>
            <a:off x="4714928" y="1380362"/>
            <a:ext cx="2673664" cy="2516364"/>
            <a:chOff x="4057406" y="1461939"/>
            <a:chExt cx="2430604" cy="2287604"/>
          </a:xfrm>
          <a:solidFill>
            <a:schemeClr val="accent2"/>
          </a:solidFill>
        </p:grpSpPr>
        <p:sp>
          <p:nvSpPr>
            <p:cNvPr id="304" name="Rectangle 303"/>
            <p:cNvSpPr/>
            <p:nvPr/>
          </p:nvSpPr>
          <p:spPr bwMode="auto">
            <a:xfrm>
              <a:off x="4091770" y="1461939"/>
              <a:ext cx="2396240" cy="22876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952" fontAlgn="base">
                <a:spcBef>
                  <a:spcPct val="0"/>
                </a:spcBef>
                <a:spcAft>
                  <a:spcPct val="0"/>
                </a:spcAft>
              </a:pPr>
              <a:endParaRPr lang="en-US" dirty="0">
                <a:solidFill>
                  <a:schemeClr val="bg1"/>
                </a:solidFill>
              </a:endParaRPr>
            </a:p>
          </p:txBody>
        </p:sp>
        <p:sp>
          <p:nvSpPr>
            <p:cNvPr id="305" name="Rectangle 304"/>
            <p:cNvSpPr/>
            <p:nvPr/>
          </p:nvSpPr>
          <p:spPr>
            <a:xfrm>
              <a:off x="4057406" y="3117014"/>
              <a:ext cx="2420483" cy="475655"/>
            </a:xfrm>
            <a:prstGeom prst="rect">
              <a:avLst/>
            </a:prstGeom>
            <a:noFill/>
          </p:spPr>
          <p:txBody>
            <a:bodyPr wrap="square">
              <a:spAutoFit/>
            </a:bodyPr>
            <a:lstStyle/>
            <a:p>
              <a:pPr algn="ctr" defTabSz="913952" fontAlgn="base">
                <a:spcBef>
                  <a:spcPct val="0"/>
                </a:spcBef>
                <a:spcAft>
                  <a:spcPct val="0"/>
                </a:spcAft>
              </a:pPr>
              <a:r>
                <a:rPr lang="en-US" sz="1400" dirty="0">
                  <a:solidFill>
                    <a:schemeClr val="bg1"/>
                  </a:solidFill>
                </a:rPr>
                <a:t>Advanced IT controls and configuration</a:t>
              </a:r>
            </a:p>
          </p:txBody>
        </p:sp>
      </p:grpSp>
      <p:sp>
        <p:nvSpPr>
          <p:cNvPr id="307" name="Rectangle 306"/>
          <p:cNvSpPr/>
          <p:nvPr/>
        </p:nvSpPr>
        <p:spPr bwMode="auto">
          <a:xfrm>
            <a:off x="7672496" y="1376050"/>
            <a:ext cx="2614504" cy="25206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952" fontAlgn="base">
              <a:spcBef>
                <a:spcPct val="0"/>
              </a:spcBef>
              <a:spcAft>
                <a:spcPct val="0"/>
              </a:spcAft>
            </a:pPr>
            <a:endParaRPr lang="en-US" dirty="0">
              <a:solidFill>
                <a:schemeClr val="bg1"/>
              </a:solidFill>
            </a:endParaRPr>
          </a:p>
        </p:txBody>
      </p:sp>
      <p:sp>
        <p:nvSpPr>
          <p:cNvPr id="309" name="Rectangle 308"/>
          <p:cNvSpPr/>
          <p:nvPr/>
        </p:nvSpPr>
        <p:spPr>
          <a:xfrm>
            <a:off x="7622919" y="3146600"/>
            <a:ext cx="2664079" cy="523220"/>
          </a:xfrm>
          <a:prstGeom prst="rect">
            <a:avLst/>
          </a:prstGeom>
        </p:spPr>
        <p:txBody>
          <a:bodyPr wrap="square">
            <a:spAutoFit/>
          </a:bodyPr>
          <a:lstStyle/>
          <a:p>
            <a:pPr algn="ctr" defTabSz="913952" fontAlgn="base">
              <a:spcBef>
                <a:spcPct val="0"/>
              </a:spcBef>
              <a:spcAft>
                <a:spcPct val="0"/>
              </a:spcAft>
            </a:pPr>
            <a:r>
              <a:rPr lang="en-US" sz="1400" dirty="0">
                <a:solidFill>
                  <a:schemeClr val="bg1"/>
                </a:solidFill>
              </a:rPr>
              <a:t>Optimized experiences</a:t>
            </a:r>
          </a:p>
          <a:p>
            <a:pPr algn="ctr" defTabSz="913952" fontAlgn="base">
              <a:spcBef>
                <a:spcPct val="0"/>
              </a:spcBef>
              <a:spcAft>
                <a:spcPct val="0"/>
              </a:spcAft>
            </a:pPr>
            <a:r>
              <a:rPr lang="en-US" sz="1400" dirty="0">
                <a:solidFill>
                  <a:schemeClr val="bg1"/>
                </a:solidFill>
              </a:rPr>
              <a:t>for common devices</a:t>
            </a:r>
          </a:p>
        </p:txBody>
      </p:sp>
      <p:sp>
        <p:nvSpPr>
          <p:cNvPr id="9" name="TextBox 8">
            <a:extLst>
              <a:ext uri="{FF2B5EF4-FFF2-40B4-BE49-F238E27FC236}">
                <a16:creationId xmlns:a16="http://schemas.microsoft.com/office/drawing/2014/main" id="{9D837B21-075A-4B44-B1C7-0B4251367893}"/>
              </a:ext>
            </a:extLst>
          </p:cNvPr>
          <p:cNvSpPr txBox="1"/>
          <p:nvPr/>
        </p:nvSpPr>
        <p:spPr>
          <a:xfrm>
            <a:off x="5528785" y="2045282"/>
            <a:ext cx="2015015" cy="517065"/>
          </a:xfrm>
          <a:prstGeom prst="rect">
            <a:avLst/>
          </a:prstGeom>
          <a:noFill/>
        </p:spPr>
        <p:txBody>
          <a:bodyPr wrap="square" lIns="182880" tIns="146304" rIns="182880" bIns="146304" rtlCol="0">
            <a:spAutoFit/>
          </a:bodyPr>
          <a:lstStyle/>
          <a:p>
            <a:pPr>
              <a:lnSpc>
                <a:spcPct val="90000"/>
              </a:lnSpc>
              <a:spcAft>
                <a:spcPts val="600"/>
              </a:spcAft>
            </a:pPr>
            <a:r>
              <a:rPr lang="sv-SE" sz="1600" dirty="0">
                <a:solidFill>
                  <a:schemeClr val="bg1"/>
                </a:solidFill>
                <a:cs typeface="Arial" panose="020B0604020202020204" pitchFamily="34" charset="0"/>
              </a:rPr>
              <a:t>SharePoint</a:t>
            </a:r>
            <a:endParaRPr lang="en-SE" sz="2000" dirty="0" err="1">
              <a:solidFill>
                <a:schemeClr val="bg1"/>
              </a:solidFill>
              <a:cs typeface="Arial" panose="020B0604020202020204" pitchFamily="34" charset="0"/>
            </a:endParaRPr>
          </a:p>
        </p:txBody>
      </p:sp>
      <p:sp>
        <p:nvSpPr>
          <p:cNvPr id="72" name="TextBox 71">
            <a:extLst>
              <a:ext uri="{FF2B5EF4-FFF2-40B4-BE49-F238E27FC236}">
                <a16:creationId xmlns:a16="http://schemas.microsoft.com/office/drawing/2014/main" id="{824BF76F-CE10-4098-BF07-BFF52BAC4341}"/>
              </a:ext>
            </a:extLst>
          </p:cNvPr>
          <p:cNvSpPr txBox="1"/>
          <p:nvPr/>
        </p:nvSpPr>
        <p:spPr>
          <a:xfrm>
            <a:off x="5515130" y="2622408"/>
            <a:ext cx="2015015" cy="517065"/>
          </a:xfrm>
          <a:prstGeom prst="rect">
            <a:avLst/>
          </a:prstGeom>
          <a:noFill/>
        </p:spPr>
        <p:txBody>
          <a:bodyPr wrap="square" lIns="182880" tIns="146304" rIns="182880" bIns="146304" rtlCol="0">
            <a:spAutoFit/>
          </a:bodyPr>
          <a:lstStyle/>
          <a:p>
            <a:pPr>
              <a:lnSpc>
                <a:spcPct val="90000"/>
              </a:lnSpc>
              <a:spcAft>
                <a:spcPts val="600"/>
              </a:spcAft>
            </a:pPr>
            <a:r>
              <a:rPr lang="sv-SE" sz="1600" dirty="0">
                <a:solidFill>
                  <a:schemeClr val="bg1"/>
                </a:solidFill>
                <a:cs typeface="Arial" panose="020B0604020202020204" pitchFamily="34" charset="0"/>
              </a:rPr>
              <a:t>Microsoft Teams</a:t>
            </a:r>
            <a:endParaRPr lang="en-SE" dirty="0" err="1">
              <a:solidFill>
                <a:schemeClr val="bg1"/>
              </a:solidFill>
              <a:cs typeface="Arial" panose="020B0604020202020204" pitchFamily="34" charset="0"/>
            </a:endParaRPr>
          </a:p>
        </p:txBody>
      </p:sp>
      <p:sp>
        <p:nvSpPr>
          <p:cNvPr id="76" name="TextBox 75">
            <a:extLst>
              <a:ext uri="{FF2B5EF4-FFF2-40B4-BE49-F238E27FC236}">
                <a16:creationId xmlns:a16="http://schemas.microsoft.com/office/drawing/2014/main" id="{A296C2F1-33BA-4322-A9E3-4D26298095DC}"/>
              </a:ext>
            </a:extLst>
          </p:cNvPr>
          <p:cNvSpPr txBox="1"/>
          <p:nvPr/>
        </p:nvSpPr>
        <p:spPr>
          <a:xfrm>
            <a:off x="5528785" y="1443780"/>
            <a:ext cx="2015015" cy="517065"/>
          </a:xfrm>
          <a:prstGeom prst="rect">
            <a:avLst/>
          </a:prstGeom>
          <a:noFill/>
        </p:spPr>
        <p:txBody>
          <a:bodyPr wrap="square" lIns="182880" tIns="146304" rIns="182880" bIns="146304" rtlCol="0">
            <a:spAutoFit/>
          </a:bodyPr>
          <a:lstStyle/>
          <a:p>
            <a:pPr>
              <a:lnSpc>
                <a:spcPct val="90000"/>
              </a:lnSpc>
              <a:spcAft>
                <a:spcPts val="600"/>
              </a:spcAft>
            </a:pPr>
            <a:r>
              <a:rPr lang="sv-SE" sz="1600" dirty="0">
                <a:solidFill>
                  <a:schemeClr val="bg1"/>
                </a:solidFill>
                <a:cs typeface="Arial" panose="020B0604020202020204" pitchFamily="34" charset="0"/>
              </a:rPr>
              <a:t>Exchange</a:t>
            </a:r>
            <a:endParaRPr lang="en-SE" sz="2000" dirty="0" err="1">
              <a:solidFill>
                <a:schemeClr val="bg1"/>
              </a:solidFill>
              <a:cs typeface="Arial" panose="020B0604020202020204" pitchFamily="34" charset="0"/>
            </a:endParaRPr>
          </a:p>
        </p:txBody>
      </p:sp>
      <p:sp>
        <p:nvSpPr>
          <p:cNvPr id="77" name="TextBox 76">
            <a:extLst>
              <a:ext uri="{FF2B5EF4-FFF2-40B4-BE49-F238E27FC236}">
                <a16:creationId xmlns:a16="http://schemas.microsoft.com/office/drawing/2014/main" id="{FB9BD546-0231-4F1F-BB1D-B0ABE98061C7}"/>
              </a:ext>
            </a:extLst>
          </p:cNvPr>
          <p:cNvSpPr txBox="1"/>
          <p:nvPr/>
        </p:nvSpPr>
        <p:spPr>
          <a:xfrm>
            <a:off x="8468241" y="1456820"/>
            <a:ext cx="2015015" cy="517065"/>
          </a:xfrm>
          <a:prstGeom prst="rect">
            <a:avLst/>
          </a:prstGeom>
          <a:noFill/>
        </p:spPr>
        <p:txBody>
          <a:bodyPr wrap="square" lIns="182880" tIns="146304" rIns="182880" bIns="146304" rtlCol="0">
            <a:spAutoFit/>
          </a:bodyPr>
          <a:lstStyle/>
          <a:p>
            <a:pPr>
              <a:lnSpc>
                <a:spcPct val="90000"/>
              </a:lnSpc>
              <a:spcAft>
                <a:spcPts val="600"/>
              </a:spcAft>
            </a:pPr>
            <a:r>
              <a:rPr lang="sv-SE" sz="1600" dirty="0">
                <a:solidFill>
                  <a:schemeClr val="bg1"/>
                </a:solidFill>
                <a:cs typeface="Arial" panose="020B0604020202020204" pitchFamily="34" charset="0"/>
              </a:rPr>
              <a:t>SharePoint</a:t>
            </a:r>
            <a:endParaRPr lang="en-SE" sz="2000" dirty="0" err="1">
              <a:solidFill>
                <a:schemeClr val="bg1"/>
              </a:solidFill>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8DF4B62D-8655-432E-A683-66C3360A6640}"/>
              </a:ext>
            </a:extLst>
          </p:cNvPr>
          <p:cNvPicPr>
            <a:picLocks noChangeAspect="1"/>
          </p:cNvPicPr>
          <p:nvPr/>
        </p:nvPicPr>
        <p:blipFill>
          <a:blip r:embed="rId6"/>
          <a:stretch>
            <a:fillRect/>
          </a:stretch>
        </p:blipFill>
        <p:spPr>
          <a:xfrm>
            <a:off x="4800600" y="1299620"/>
            <a:ext cx="809625" cy="809625"/>
          </a:xfrm>
          <a:prstGeom prst="rect">
            <a:avLst/>
          </a:prstGeom>
        </p:spPr>
      </p:pic>
      <p:pic>
        <p:nvPicPr>
          <p:cNvPr id="16" name="Picture 15" descr="Graphical user interface&#10;&#10;Description automatically generated with low confidence">
            <a:extLst>
              <a:ext uri="{FF2B5EF4-FFF2-40B4-BE49-F238E27FC236}">
                <a16:creationId xmlns:a16="http://schemas.microsoft.com/office/drawing/2014/main" id="{685A9F5A-F40F-4EC9-AF48-64AF52C72CBB}"/>
              </a:ext>
            </a:extLst>
          </p:cNvPr>
          <p:cNvPicPr>
            <a:picLocks noChangeAspect="1"/>
          </p:cNvPicPr>
          <p:nvPr/>
        </p:nvPicPr>
        <p:blipFill>
          <a:blip r:embed="rId7"/>
          <a:stretch>
            <a:fillRect/>
          </a:stretch>
        </p:blipFill>
        <p:spPr>
          <a:xfrm>
            <a:off x="4800600" y="2469639"/>
            <a:ext cx="809625" cy="809625"/>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7D1398F8-6102-49CC-BCC5-70911309A685}"/>
              </a:ext>
            </a:extLst>
          </p:cNvPr>
          <p:cNvPicPr>
            <a:picLocks noChangeAspect="1"/>
          </p:cNvPicPr>
          <p:nvPr/>
        </p:nvPicPr>
        <p:blipFill>
          <a:blip r:embed="rId8"/>
          <a:stretch>
            <a:fillRect/>
          </a:stretch>
        </p:blipFill>
        <p:spPr>
          <a:xfrm>
            <a:off x="4800600" y="1916481"/>
            <a:ext cx="809625" cy="809625"/>
          </a:xfrm>
          <a:prstGeom prst="rect">
            <a:avLst/>
          </a:prstGeom>
        </p:spPr>
      </p:pic>
      <p:pic>
        <p:nvPicPr>
          <p:cNvPr id="20" name="Picture 19" descr="Graphical user interface, application&#10;&#10;Description automatically generated">
            <a:extLst>
              <a:ext uri="{FF2B5EF4-FFF2-40B4-BE49-F238E27FC236}">
                <a16:creationId xmlns:a16="http://schemas.microsoft.com/office/drawing/2014/main" id="{982DA7EB-28BB-47C8-8803-643F70366C16}"/>
              </a:ext>
            </a:extLst>
          </p:cNvPr>
          <p:cNvPicPr>
            <a:picLocks noChangeAspect="1"/>
          </p:cNvPicPr>
          <p:nvPr/>
        </p:nvPicPr>
        <p:blipFill>
          <a:blip r:embed="rId8"/>
          <a:stretch>
            <a:fillRect/>
          </a:stretch>
        </p:blipFill>
        <p:spPr>
          <a:xfrm>
            <a:off x="7904119" y="1325885"/>
            <a:ext cx="809625" cy="809625"/>
          </a:xfrm>
          <a:prstGeom prst="rect">
            <a:avLst/>
          </a:prstGeom>
        </p:spPr>
      </p:pic>
      <p:grpSp>
        <p:nvGrpSpPr>
          <p:cNvPr id="23" name="Group 22">
            <a:extLst>
              <a:ext uri="{FF2B5EF4-FFF2-40B4-BE49-F238E27FC236}">
                <a16:creationId xmlns:a16="http://schemas.microsoft.com/office/drawing/2014/main" id="{8E8595E7-BDD4-4038-AB47-7767055DA0C3}"/>
              </a:ext>
            </a:extLst>
          </p:cNvPr>
          <p:cNvGrpSpPr/>
          <p:nvPr/>
        </p:nvGrpSpPr>
        <p:grpSpPr>
          <a:xfrm>
            <a:off x="4758392" y="4054938"/>
            <a:ext cx="2630022" cy="2513945"/>
            <a:chOff x="4758392" y="4054938"/>
            <a:chExt cx="2630022" cy="2513945"/>
          </a:xfrm>
          <a:solidFill>
            <a:schemeClr val="accent1"/>
          </a:solidFill>
        </p:grpSpPr>
        <p:grpSp>
          <p:nvGrpSpPr>
            <p:cNvPr id="21" name="Group 20">
              <a:extLst>
                <a:ext uri="{FF2B5EF4-FFF2-40B4-BE49-F238E27FC236}">
                  <a16:creationId xmlns:a16="http://schemas.microsoft.com/office/drawing/2014/main" id="{9B8656B5-A5EE-4935-88CB-67400EBAF742}"/>
                </a:ext>
              </a:extLst>
            </p:cNvPr>
            <p:cNvGrpSpPr/>
            <p:nvPr/>
          </p:nvGrpSpPr>
          <p:grpSpPr>
            <a:xfrm>
              <a:off x="4758392" y="4054938"/>
              <a:ext cx="2630022" cy="2513945"/>
              <a:chOff x="4758392" y="4054938"/>
              <a:chExt cx="2630022" cy="2513945"/>
            </a:xfrm>
            <a:grpFill/>
          </p:grpSpPr>
          <p:sp>
            <p:nvSpPr>
              <p:cNvPr id="317" name="Rectangle 316"/>
              <p:cNvSpPr/>
              <p:nvPr/>
            </p:nvSpPr>
            <p:spPr bwMode="auto">
              <a:xfrm>
                <a:off x="4758392" y="4054938"/>
                <a:ext cx="2630022" cy="25139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952" fontAlgn="base">
                  <a:spcBef>
                    <a:spcPct val="0"/>
                  </a:spcBef>
                  <a:spcAft>
                    <a:spcPct val="0"/>
                  </a:spcAft>
                </a:pPr>
                <a:endParaRPr lang="en-US" dirty="0">
                  <a:solidFill>
                    <a:schemeClr val="bg1"/>
                  </a:solidFill>
                </a:endParaRPr>
              </a:p>
            </p:txBody>
          </p:sp>
          <p:pic>
            <p:nvPicPr>
              <p:cNvPr id="319" name="Picture 9" descr="\\MAGNUM\Projects\Microsoft\Cloud Power FY12\Design\Icons\PNGs\Optimized.png"/>
              <p:cNvPicPr>
                <a:picLocks noChangeAspect="1" noChangeArrowheads="1"/>
              </p:cNvPicPr>
              <p:nvPr/>
            </p:nvPicPr>
            <p:blipFill>
              <a:blip r:embed="rId9" cstate="print">
                <a:lum bright="100000"/>
              </a:blip>
              <a:srcRect/>
              <a:stretch>
                <a:fillRect/>
              </a:stretch>
            </p:blipFill>
            <p:spPr bwMode="auto">
              <a:xfrm>
                <a:off x="5419958" y="4348376"/>
                <a:ext cx="1358462" cy="1350446"/>
              </a:xfrm>
              <a:prstGeom prst="rect">
                <a:avLst/>
              </a:prstGeom>
              <a:grpFill/>
              <a:ln>
                <a:noFill/>
              </a:ln>
            </p:spPr>
          </p:pic>
        </p:grpSp>
        <p:sp>
          <p:nvSpPr>
            <p:cNvPr id="22" name="Rectangle 21">
              <a:extLst>
                <a:ext uri="{FF2B5EF4-FFF2-40B4-BE49-F238E27FC236}">
                  <a16:creationId xmlns:a16="http://schemas.microsoft.com/office/drawing/2014/main" id="{FEB1567F-C643-4F4B-AEA6-EE039B7E4249}"/>
                </a:ext>
              </a:extLst>
            </p:cNvPr>
            <p:cNvSpPr/>
            <p:nvPr/>
          </p:nvSpPr>
          <p:spPr>
            <a:xfrm>
              <a:off x="5135182" y="5743456"/>
              <a:ext cx="1870960" cy="307777"/>
            </a:xfrm>
            <a:prstGeom prst="rect">
              <a:avLst/>
            </a:prstGeom>
            <a:grpFill/>
          </p:spPr>
          <p:txBody>
            <a:bodyPr wrap="none">
              <a:spAutoFit/>
            </a:bodyPr>
            <a:lstStyle/>
            <a:p>
              <a:pPr algn="ctr" defTabSz="913952" fontAlgn="base">
                <a:spcBef>
                  <a:spcPct val="0"/>
                </a:spcBef>
                <a:spcAft>
                  <a:spcPct val="0"/>
                </a:spcAft>
              </a:pPr>
              <a:r>
                <a:rPr lang="en-US" sz="1400" dirty="0">
                  <a:solidFill>
                    <a:schemeClr val="bg1"/>
                  </a:solidFill>
                </a:rPr>
                <a:t>Continues Innovation</a:t>
              </a:r>
            </a:p>
          </p:txBody>
        </p:sp>
      </p:grpSp>
      <p:pic>
        <p:nvPicPr>
          <p:cNvPr id="5" name="Picture 4">
            <a:extLst>
              <a:ext uri="{FF2B5EF4-FFF2-40B4-BE49-F238E27FC236}">
                <a16:creationId xmlns:a16="http://schemas.microsoft.com/office/drawing/2014/main" id="{B6241669-9BE6-9553-DDD5-95A384E875BE}"/>
              </a:ext>
            </a:extLst>
          </p:cNvPr>
          <p:cNvPicPr>
            <a:picLocks noChangeAspect="1"/>
          </p:cNvPicPr>
          <p:nvPr/>
        </p:nvPicPr>
        <p:blipFill>
          <a:blip r:embed="rId10"/>
          <a:stretch>
            <a:fillRect/>
          </a:stretch>
        </p:blipFill>
        <p:spPr>
          <a:xfrm>
            <a:off x="8468241" y="2023260"/>
            <a:ext cx="1066852" cy="1066852"/>
          </a:xfrm>
          <a:prstGeom prst="rect">
            <a:avLst/>
          </a:prstGeom>
        </p:spPr>
      </p:pic>
    </p:spTree>
    <p:extLst>
      <p:ext uri="{BB962C8B-B14F-4D97-AF65-F5344CB8AC3E}">
        <p14:creationId xmlns:p14="http://schemas.microsoft.com/office/powerpoint/2010/main" val="4196880170"/>
      </p:ext>
    </p:extLst>
  </p:cSld>
  <p:clrMapOvr>
    <a:masterClrMapping/>
  </p:clrMapOvr>
  <p:transition>
    <p:fade/>
  </p:transition>
</p:sld>
</file>

<file path=ppt/slides/slide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dirty="0"/>
              <a:t>Microsoft 365 Service Offerings</a:t>
            </a:r>
          </a:p>
        </p:txBody>
      </p:sp>
      <p:graphicFrame>
        <p:nvGraphicFramePr>
          <p:cNvPr id="4" name="Content Placeholder 3">
            <a:extLst>
              <a:ext uri="{FF2B5EF4-FFF2-40B4-BE49-F238E27FC236}">
                <a16:creationId xmlns:a16="http://schemas.microsoft.com/office/drawing/2014/main" id="{AA24C5BE-B0C1-4DBB-9D07-7F0672C70CB5}"/>
              </a:ext>
            </a:extLst>
          </p:cNvPr>
          <p:cNvGraphicFramePr>
            <a:graphicFrameLocks noGrp="1"/>
          </p:cNvGraphicFramePr>
          <p:nvPr>
            <p:ph sz="quarter" idx="13"/>
            <p:extLst>
              <p:ext uri="{D42A27DB-BD31-4B8C-83A1-F6EECF244321}">
                <p14:modId xmlns:p14="http://schemas.microsoft.com/office/powerpoint/2010/main" val="2806625673"/>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Freeform: Shape 5">
            <a:extLst>
              <a:ext uri="{FF2B5EF4-FFF2-40B4-BE49-F238E27FC236}">
                <a16:creationId xmlns:a16="http://schemas.microsoft.com/office/drawing/2014/main" id="{E05FD6A1-AB90-41CC-9016-C445D40D076F}"/>
              </a:ext>
            </a:extLst>
          </p:cNvPr>
          <p:cNvSpPr/>
          <p:nvPr/>
        </p:nvSpPr>
        <p:spPr>
          <a:xfrm>
            <a:off x="9037830" y="1930768"/>
            <a:ext cx="2798570" cy="3477600"/>
          </a:xfrm>
          <a:custGeom>
            <a:avLst/>
            <a:gdLst>
              <a:gd name="connsiteX0" fmla="*/ 0 w 2798570"/>
              <a:gd name="connsiteY0" fmla="*/ 0 h 3477600"/>
              <a:gd name="connsiteX1" fmla="*/ 2798570 w 2798570"/>
              <a:gd name="connsiteY1" fmla="*/ 0 h 3477600"/>
              <a:gd name="connsiteX2" fmla="*/ 2798570 w 2798570"/>
              <a:gd name="connsiteY2" fmla="*/ 3477600 h 3477600"/>
              <a:gd name="connsiteX3" fmla="*/ 0 w 2798570"/>
              <a:gd name="connsiteY3" fmla="*/ 3477600 h 3477600"/>
              <a:gd name="connsiteX4" fmla="*/ 0 w 2798570"/>
              <a:gd name="connsiteY4" fmla="*/ 0 h 347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570" h="3477600">
                <a:moveTo>
                  <a:pt x="0" y="0"/>
                </a:moveTo>
                <a:lnTo>
                  <a:pt x="2798570" y="0"/>
                </a:lnTo>
                <a:lnTo>
                  <a:pt x="2798570" y="3477600"/>
                </a:lnTo>
                <a:lnTo>
                  <a:pt x="0" y="3477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8855" tIns="24130" rIns="135128" bIns="24130" numCol="1" spcCol="1270" anchor="t" anchorCtr="0">
            <a:noAutofit/>
          </a:bodyPr>
          <a:lstStyle/>
          <a:p>
            <a:pPr marL="114300" lvl="1" indent="-114300" algn="l" defTabSz="666750">
              <a:lnSpc>
                <a:spcPct val="90000"/>
              </a:lnSpc>
              <a:spcBef>
                <a:spcPct val="0"/>
              </a:spcBef>
              <a:spcAft>
                <a:spcPct val="20000"/>
              </a:spcAft>
              <a:buChar char="•"/>
            </a:pPr>
            <a:endParaRPr lang="nb-NO" sz="1600" kern="1200" dirty="0">
              <a:latin typeface="+mj-lt"/>
            </a:endParaRPr>
          </a:p>
        </p:txBody>
      </p:sp>
    </p:spTree>
    <p:extLst>
      <p:ext uri="{BB962C8B-B14F-4D97-AF65-F5344CB8AC3E}">
        <p14:creationId xmlns:p14="http://schemas.microsoft.com/office/powerpoint/2010/main" val="42442995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ASD">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ASD" id="{F0561960-FF48-4500-B8A3-2B8CEEA31705}" vid="{72167933-79A4-449E-82A5-B9D3DE3E19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5B4E7EF-A80D-48C2-98FB-A435A3D4C654}"/>
</file>

<file path=customXml/itemProps2.xml><?xml version="1.0" encoding="utf-8"?>
<ds:datastoreItem xmlns:ds="http://schemas.openxmlformats.org/officeDocument/2006/customXml" ds:itemID="{E1BE0308-F349-453F-9BF6-54ACA8A46B08}">
  <ds:schemaRefs>
    <ds:schemaRef ds:uri="http://schemas.microsoft.com/sharepoint/v3/contenttype/forms"/>
  </ds:schemaRefs>
</ds:datastoreItem>
</file>

<file path=customXml/itemProps3.xml><?xml version="1.0" encoding="utf-8"?>
<ds:datastoreItem xmlns:ds="http://schemas.openxmlformats.org/officeDocument/2006/customXml" ds:itemID="{E44BD4B1-F63B-475A-A7B6-726F88E716CD}">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ASD</Template>
  <TotalTime>0</TotalTime>
  <Words>2550</Words>
  <Application>Microsoft Office PowerPoint</Application>
  <PresentationFormat>Widescreen</PresentationFormat>
  <Paragraphs>324</Paragraphs>
  <Slides>23</Slides>
  <Notes>23</Notes>
  <HiddenSlides>2</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3</vt:i4>
      </vt:variant>
    </vt:vector>
  </HeadingPairs>
  <TitlesOfParts>
    <vt:vector size="33" baseType="lpstr">
      <vt:lpstr>&amp;quot</vt:lpstr>
      <vt:lpstr>Arial</vt:lpstr>
      <vt:lpstr>Calibri</vt:lpstr>
      <vt:lpstr>Calibri Light</vt:lpstr>
      <vt:lpstr>Comic Sans MS</vt:lpstr>
      <vt:lpstr>Consolas</vt:lpstr>
      <vt:lpstr>Segoe UI</vt:lpstr>
      <vt:lpstr>Segoe UI Semibold</vt:lpstr>
      <vt:lpstr>Wingdings</vt:lpstr>
      <vt:lpstr>ASD</vt:lpstr>
      <vt:lpstr>Overview of Microsoft 365</vt:lpstr>
      <vt:lpstr>PowerPoint Presentation</vt:lpstr>
      <vt:lpstr>Students: How to View This Presentation</vt:lpstr>
      <vt:lpstr>Introduction and Logistics</vt:lpstr>
      <vt:lpstr>Overview of Microsoft 365</vt:lpstr>
      <vt:lpstr>Objectives</vt:lpstr>
      <vt:lpstr>What Is Microsoft 365?</vt:lpstr>
      <vt:lpstr>Microsoft 365: Benefits</vt:lpstr>
      <vt:lpstr>Microsoft 365 Service Offerings</vt:lpstr>
      <vt:lpstr>Datacenters (Where is your data located?) </vt:lpstr>
      <vt:lpstr>Microsoft 365 Service Families</vt:lpstr>
      <vt:lpstr>Microsoft 365 Enterprise Plans (Partial List)</vt:lpstr>
      <vt:lpstr>Microsoft 365 Plans (Information Management)</vt:lpstr>
      <vt:lpstr>Change Management for Microsoft 365</vt:lpstr>
      <vt:lpstr>Microsoft 365 Service Support</vt:lpstr>
      <vt:lpstr>Microsoft 365 Service Health</vt:lpstr>
      <vt:lpstr>Microsoft 365 Service Health - Details</vt:lpstr>
      <vt:lpstr>Microsoft 365 Message Center</vt:lpstr>
      <vt:lpstr>Microsoft 365 Message Center - Details</vt:lpstr>
      <vt:lpstr>Microsoft 365 Message Center – Message Preferences</vt:lpstr>
      <vt:lpstr>Knowledge Check</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29T07:33:25.0000000Z</dcterms:created>
  <dcterms:modified xsi:type="dcterms:W3CDTF">2023-01-08T01:35:50.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ediaServiceImageTags">
    <vt:lpwstr/>
  </op:property>
  <op:property fmtid="{D5CDD505-2E9C-101B-9397-08002B2CF9AE}" pid="3" name="ContentTypeId">
    <vt:lpwstr>0x010100749CF4B3973DE3499364CBABEEB8439F</vt:lpwstr>
  </op:property>
</op:Properties>
</file>